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9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6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2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3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13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13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11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13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3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6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7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charts/chart38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9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charts/chart40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41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charts/chart42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3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792" r:id="rId5"/>
    <p:sldMasterId id="2147483809" r:id="rId6"/>
    <p:sldMasterId id="2147483815" r:id="rId7"/>
    <p:sldMasterId id="2147483825" r:id="rId8"/>
    <p:sldMasterId id="2147483864" r:id="rId9"/>
    <p:sldMasterId id="2147483874" r:id="rId10"/>
  </p:sldMasterIdLst>
  <p:notesMasterIdLst>
    <p:notesMasterId r:id="rId58"/>
  </p:notesMasterIdLst>
  <p:sldIdLst>
    <p:sldId id="1751" r:id="rId11"/>
    <p:sldId id="1801" r:id="rId12"/>
    <p:sldId id="2143" r:id="rId13"/>
    <p:sldId id="1768" r:id="rId14"/>
    <p:sldId id="1820" r:id="rId15"/>
    <p:sldId id="1882" r:id="rId16"/>
    <p:sldId id="2120" r:id="rId17"/>
    <p:sldId id="1822" r:id="rId18"/>
    <p:sldId id="2145" r:id="rId19"/>
    <p:sldId id="1843" r:id="rId20"/>
    <p:sldId id="2121" r:id="rId21"/>
    <p:sldId id="2122" r:id="rId22"/>
    <p:sldId id="2123" r:id="rId23"/>
    <p:sldId id="2124" r:id="rId24"/>
    <p:sldId id="2141" r:id="rId25"/>
    <p:sldId id="2125" r:id="rId26"/>
    <p:sldId id="2126" r:id="rId27"/>
    <p:sldId id="1727" r:id="rId28"/>
    <p:sldId id="1828" r:id="rId29"/>
    <p:sldId id="1914" r:id="rId30"/>
    <p:sldId id="1883" r:id="rId31"/>
    <p:sldId id="2149" r:id="rId32"/>
    <p:sldId id="2147" r:id="rId33"/>
    <p:sldId id="2148" r:id="rId34"/>
    <p:sldId id="2146" r:id="rId35"/>
    <p:sldId id="2142" r:id="rId36"/>
    <p:sldId id="2150" r:id="rId37"/>
    <p:sldId id="2151" r:id="rId38"/>
    <p:sldId id="2152" r:id="rId39"/>
    <p:sldId id="2153" r:id="rId40"/>
    <p:sldId id="1917" r:id="rId41"/>
    <p:sldId id="2154" r:id="rId42"/>
    <p:sldId id="2155" r:id="rId43"/>
    <p:sldId id="1835" r:id="rId44"/>
    <p:sldId id="1410" r:id="rId45"/>
    <p:sldId id="1411" r:id="rId46"/>
    <p:sldId id="2156" r:id="rId47"/>
    <p:sldId id="1894" r:id="rId48"/>
    <p:sldId id="2157" r:id="rId49"/>
    <p:sldId id="2132" r:id="rId50"/>
    <p:sldId id="2158" r:id="rId51"/>
    <p:sldId id="2159" r:id="rId52"/>
    <p:sldId id="2160" r:id="rId53"/>
    <p:sldId id="2161" r:id="rId54"/>
    <p:sldId id="2162" r:id="rId55"/>
    <p:sldId id="2163" r:id="rId56"/>
    <p:sldId id="2164" r:id="rId57"/>
  </p:sldIdLst>
  <p:sldSz cx="12192000" cy="6858000"/>
  <p:notesSz cx="6858000" cy="9144000"/>
  <p:embeddedFontLst>
    <p:embeddedFont>
      <p:font typeface="Calibri Light" panose="020F0302020204030204" pitchFamily="34" charset="0"/>
      <p:regular r:id="rId59"/>
      <p:italic r:id="rId60"/>
    </p:embeddedFont>
    <p:embeddedFont>
      <p:font typeface="Calibri" panose="020F0502020204030204" pitchFamily="34" charset="0"/>
      <p:regular r:id="rId61"/>
      <p:bold r:id="rId62"/>
      <p:italic r:id="rId63"/>
      <p:boldItalic r:id="rId64"/>
    </p:embeddedFont>
  </p:embeddedFontLst>
  <p:custDataLst>
    <p:tags r:id="rId6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B0C2E5"/>
    <a:srgbClr val="6D6B6B"/>
    <a:srgbClr val="FF0000"/>
    <a:srgbClr val="00FF00"/>
    <a:srgbClr val="666363"/>
    <a:srgbClr val="4CB9FC"/>
    <a:srgbClr val="D0CCCE"/>
    <a:srgbClr val="D31145"/>
    <a:srgbClr val="993A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60" autoAdjust="0"/>
    <p:restoredTop sz="96265" autoAdjust="0"/>
  </p:normalViewPr>
  <p:slideViewPr>
    <p:cSldViewPr snapToGrid="0">
      <p:cViewPr varScale="1">
        <p:scale>
          <a:sx n="103" d="100"/>
          <a:sy n="103" d="100"/>
        </p:scale>
        <p:origin x="504" y="96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34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63" Type="http://schemas.openxmlformats.org/officeDocument/2006/relationships/font" Target="fonts/font5.fntdata"/><Relationship Id="rId68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slide" Target="slides/slide43.xml"/><Relationship Id="rId58" Type="http://schemas.openxmlformats.org/officeDocument/2006/relationships/notesMaster" Target="notesMasters/notesMaster1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Relationship Id="rId61" Type="http://schemas.openxmlformats.org/officeDocument/2006/relationships/font" Target="fonts/font3.fntdata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font" Target="fonts/font2.fntdata"/><Relationship Id="rId65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64" Type="http://schemas.openxmlformats.org/officeDocument/2006/relationships/font" Target="fonts/font6.fntdata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font" Target="fonts/font1.fntdata"/><Relationship Id="rId67" Type="http://schemas.openxmlformats.org/officeDocument/2006/relationships/viewProps" Target="viewProps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font" Target="fonts/font4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2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8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9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0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1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2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3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4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5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6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7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8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9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0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1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2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8010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25</c:v>
                </c:pt>
                <c:pt idx="1">
                  <c:v>44226</c:v>
                </c:pt>
                <c:pt idx="2">
                  <c:v>44227</c:v>
                </c:pt>
                <c:pt idx="3">
                  <c:v>44228</c:v>
                </c:pt>
                <c:pt idx="4">
                  <c:v>44229</c:v>
                </c:pt>
                <c:pt idx="5">
                  <c:v>44230</c:v>
                </c:pt>
                <c:pt idx="6">
                  <c:v>44231</c:v>
                </c:pt>
                <c:pt idx="7">
                  <c:v>44232</c:v>
                </c:pt>
                <c:pt idx="8">
                  <c:v>44233</c:v>
                </c:pt>
                <c:pt idx="9">
                  <c:v>44234</c:v>
                </c:pt>
                <c:pt idx="10">
                  <c:v>44235</c:v>
                </c:pt>
                <c:pt idx="11">
                  <c:v>44236</c:v>
                </c:pt>
                <c:pt idx="12">
                  <c:v>44237</c:v>
                </c:pt>
                <c:pt idx="13">
                  <c:v>44238</c:v>
                </c:pt>
                <c:pt idx="14">
                  <c:v>44239</c:v>
                </c:pt>
                <c:pt idx="15">
                  <c:v>44240</c:v>
                </c:pt>
                <c:pt idx="16">
                  <c:v>44241</c:v>
                </c:pt>
                <c:pt idx="17">
                  <c:v>44242</c:v>
                </c:pt>
                <c:pt idx="18">
                  <c:v>44243</c:v>
                </c:pt>
                <c:pt idx="19">
                  <c:v>44244</c:v>
                </c:pt>
                <c:pt idx="20">
                  <c:v>44245</c:v>
                </c:pt>
                <c:pt idx="21">
                  <c:v>44246</c:v>
                </c:pt>
                <c:pt idx="22">
                  <c:v>44247</c:v>
                </c:pt>
                <c:pt idx="23">
                  <c:v>44248</c:v>
                </c:pt>
                <c:pt idx="24">
                  <c:v>44249</c:v>
                </c:pt>
                <c:pt idx="25">
                  <c:v>44250</c:v>
                </c:pt>
                <c:pt idx="26">
                  <c:v>44251</c:v>
                </c:pt>
                <c:pt idx="27">
                  <c:v>44252</c:v>
                </c:pt>
                <c:pt idx="28">
                  <c:v>44253</c:v>
                </c:pt>
                <c:pt idx="29">
                  <c:v>44254</c:v>
                </c:pt>
                <c:pt idx="30">
                  <c:v>44255</c:v>
                </c:pt>
                <c:pt idx="31">
                  <c:v>44256</c:v>
                </c:pt>
                <c:pt idx="32">
                  <c:v>44257</c:v>
                </c:pt>
                <c:pt idx="33">
                  <c:v>44258</c:v>
                </c:pt>
                <c:pt idx="34">
                  <c:v>44259</c:v>
                </c:pt>
                <c:pt idx="35">
                  <c:v>44260</c:v>
                </c:pt>
                <c:pt idx="36">
                  <c:v>44261</c:v>
                </c:pt>
                <c:pt idx="37">
                  <c:v>44262</c:v>
                </c:pt>
                <c:pt idx="38">
                  <c:v>44263</c:v>
                </c:pt>
                <c:pt idx="39">
                  <c:v>44264</c:v>
                </c:pt>
                <c:pt idx="40">
                  <c:v>44265</c:v>
                </c:pt>
                <c:pt idx="41">
                  <c:v>44266</c:v>
                </c:pt>
                <c:pt idx="42">
                  <c:v>44267</c:v>
                </c:pt>
                <c:pt idx="43">
                  <c:v>44268</c:v>
                </c:pt>
                <c:pt idx="44">
                  <c:v>44269</c:v>
                </c:pt>
                <c:pt idx="45">
                  <c:v>44270</c:v>
                </c:pt>
                <c:pt idx="46">
                  <c:v>44271</c:v>
                </c:pt>
                <c:pt idx="47">
                  <c:v>44272</c:v>
                </c:pt>
                <c:pt idx="48">
                  <c:v>44273</c:v>
                </c:pt>
                <c:pt idx="49">
                  <c:v>44274</c:v>
                </c:pt>
                <c:pt idx="50">
                  <c:v>44275</c:v>
                </c:pt>
                <c:pt idx="51">
                  <c:v>44276</c:v>
                </c:pt>
                <c:pt idx="52">
                  <c:v>44277</c:v>
                </c:pt>
                <c:pt idx="53">
                  <c:v>44278</c:v>
                </c:pt>
                <c:pt idx="54">
                  <c:v>44279</c:v>
                </c:pt>
                <c:pt idx="55">
                  <c:v>44280</c:v>
                </c:pt>
                <c:pt idx="56">
                  <c:v>44281</c:v>
                </c:pt>
                <c:pt idx="57">
                  <c:v>44282</c:v>
                </c:pt>
                <c:pt idx="58">
                  <c:v>44283</c:v>
                </c:pt>
                <c:pt idx="59">
                  <c:v>44284</c:v>
                </c:pt>
                <c:pt idx="60">
                  <c:v>44285</c:v>
                </c:pt>
                <c:pt idx="61">
                  <c:v>44286</c:v>
                </c:pt>
                <c:pt idx="62">
                  <c:v>44287</c:v>
                </c:pt>
                <c:pt idx="63">
                  <c:v>44288</c:v>
                </c:pt>
                <c:pt idx="64">
                  <c:v>44289</c:v>
                </c:pt>
                <c:pt idx="65">
                  <c:v>44290</c:v>
                </c:pt>
                <c:pt idx="66">
                  <c:v>44291</c:v>
                </c:pt>
                <c:pt idx="67">
                  <c:v>44292</c:v>
                </c:pt>
                <c:pt idx="68">
                  <c:v>44293</c:v>
                </c:pt>
                <c:pt idx="69">
                  <c:v>44294</c:v>
                </c:pt>
                <c:pt idx="70">
                  <c:v>44295</c:v>
                </c:pt>
                <c:pt idx="71">
                  <c:v>44296</c:v>
                </c:pt>
                <c:pt idx="72">
                  <c:v>44297</c:v>
                </c:pt>
                <c:pt idx="73">
                  <c:v>44298</c:v>
                </c:pt>
                <c:pt idx="74">
                  <c:v>44299</c:v>
                </c:pt>
                <c:pt idx="75">
                  <c:v>44300</c:v>
                </c:pt>
                <c:pt idx="76">
                  <c:v>44301</c:v>
                </c:pt>
                <c:pt idx="77">
                  <c:v>44302</c:v>
                </c:pt>
                <c:pt idx="78">
                  <c:v>44303</c:v>
                </c:pt>
                <c:pt idx="79">
                  <c:v>44304</c:v>
                </c:pt>
                <c:pt idx="80">
                  <c:v>44305</c:v>
                </c:pt>
                <c:pt idx="81">
                  <c:v>44306</c:v>
                </c:pt>
                <c:pt idx="82">
                  <c:v>44307</c:v>
                </c:pt>
                <c:pt idx="83">
                  <c:v>44308</c:v>
                </c:pt>
                <c:pt idx="84">
                  <c:v>44309</c:v>
                </c:pt>
                <c:pt idx="85">
                  <c:v>44310</c:v>
                </c:pt>
                <c:pt idx="86">
                  <c:v>44311</c:v>
                </c:pt>
                <c:pt idx="87">
                  <c:v>44312</c:v>
                </c:pt>
                <c:pt idx="88">
                  <c:v>44313</c:v>
                </c:pt>
                <c:pt idx="89">
                  <c:v>44314</c:v>
                </c:pt>
                <c:pt idx="90">
                  <c:v>44315</c:v>
                </c:pt>
                <c:pt idx="91">
                  <c:v>44316</c:v>
                </c:pt>
                <c:pt idx="92">
                  <c:v>44317</c:v>
                </c:pt>
                <c:pt idx="93">
                  <c:v>44318</c:v>
                </c:pt>
                <c:pt idx="94">
                  <c:v>44319</c:v>
                </c:pt>
                <c:pt idx="95">
                  <c:v>44320</c:v>
                </c:pt>
                <c:pt idx="96">
                  <c:v>44321</c:v>
                </c:pt>
                <c:pt idx="97">
                  <c:v>44322</c:v>
                </c:pt>
                <c:pt idx="98">
                  <c:v>44323</c:v>
                </c:pt>
                <c:pt idx="99">
                  <c:v>44324</c:v>
                </c:pt>
                <c:pt idx="100">
                  <c:v>44325</c:v>
                </c:pt>
                <c:pt idx="101">
                  <c:v>44326</c:v>
                </c:pt>
                <c:pt idx="102">
                  <c:v>44327</c:v>
                </c:pt>
                <c:pt idx="103">
                  <c:v>44328</c:v>
                </c:pt>
                <c:pt idx="104">
                  <c:v>44329</c:v>
                </c:pt>
                <c:pt idx="105">
                  <c:v>44330</c:v>
                </c:pt>
                <c:pt idx="106">
                  <c:v>44331</c:v>
                </c:pt>
                <c:pt idx="107">
                  <c:v>44332</c:v>
                </c:pt>
                <c:pt idx="108">
                  <c:v>44333</c:v>
                </c:pt>
                <c:pt idx="109">
                  <c:v>44334</c:v>
                </c:pt>
                <c:pt idx="110">
                  <c:v>44335</c:v>
                </c:pt>
                <c:pt idx="111">
                  <c:v>44336</c:v>
                </c:pt>
                <c:pt idx="112">
                  <c:v>44337</c:v>
                </c:pt>
                <c:pt idx="113">
                  <c:v>44338</c:v>
                </c:pt>
                <c:pt idx="114">
                  <c:v>44339</c:v>
                </c:pt>
                <c:pt idx="115">
                  <c:v>44340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8053</c:v>
                </c:pt>
                <c:pt idx="1">
                  <c:v>4055</c:v>
                </c:pt>
                <c:pt idx="2">
                  <c:v>2573</c:v>
                </c:pt>
                <c:pt idx="3">
                  <c:v>7217</c:v>
                </c:pt>
                <c:pt idx="4">
                  <c:v>9149</c:v>
                </c:pt>
                <c:pt idx="5">
                  <c:v>9667</c:v>
                </c:pt>
                <c:pt idx="6">
                  <c:v>8108</c:v>
                </c:pt>
                <c:pt idx="7">
                  <c:v>8623</c:v>
                </c:pt>
                <c:pt idx="8">
                  <c:v>4820</c:v>
                </c:pt>
                <c:pt idx="9">
                  <c:v>2451</c:v>
                </c:pt>
                <c:pt idx="10">
                  <c:v>7777</c:v>
                </c:pt>
                <c:pt idx="11">
                  <c:v>10282</c:v>
                </c:pt>
                <c:pt idx="12">
                  <c:v>9539</c:v>
                </c:pt>
                <c:pt idx="13">
                  <c:v>9018</c:v>
                </c:pt>
                <c:pt idx="14">
                  <c:v>8830</c:v>
                </c:pt>
                <c:pt idx="15">
                  <c:v>5141</c:v>
                </c:pt>
                <c:pt idx="16">
                  <c:v>2880</c:v>
                </c:pt>
                <c:pt idx="17">
                  <c:v>8905</c:v>
                </c:pt>
                <c:pt idx="18">
                  <c:v>12608</c:v>
                </c:pt>
                <c:pt idx="19">
                  <c:v>10939</c:v>
                </c:pt>
                <c:pt idx="20">
                  <c:v>11704</c:v>
                </c:pt>
                <c:pt idx="21">
                  <c:v>11288</c:v>
                </c:pt>
                <c:pt idx="22">
                  <c:v>6775</c:v>
                </c:pt>
                <c:pt idx="23">
                  <c:v>4068</c:v>
                </c:pt>
                <c:pt idx="24">
                  <c:v>11410</c:v>
                </c:pt>
                <c:pt idx="25">
                  <c:v>15841</c:v>
                </c:pt>
                <c:pt idx="26">
                  <c:v>13796</c:v>
                </c:pt>
                <c:pt idx="27">
                  <c:v>14588</c:v>
                </c:pt>
                <c:pt idx="28">
                  <c:v>14775</c:v>
                </c:pt>
                <c:pt idx="29">
                  <c:v>7824</c:v>
                </c:pt>
                <c:pt idx="30">
                  <c:v>4587</c:v>
                </c:pt>
                <c:pt idx="31">
                  <c:v>12325</c:v>
                </c:pt>
                <c:pt idx="32">
                  <c:v>16779</c:v>
                </c:pt>
                <c:pt idx="33">
                  <c:v>15238</c:v>
                </c:pt>
                <c:pt idx="34">
                  <c:v>14650</c:v>
                </c:pt>
                <c:pt idx="35">
                  <c:v>13169</c:v>
                </c:pt>
                <c:pt idx="36">
                  <c:v>9130</c:v>
                </c:pt>
                <c:pt idx="37">
                  <c:v>3983</c:v>
                </c:pt>
                <c:pt idx="38">
                  <c:v>10653</c:v>
                </c:pt>
                <c:pt idx="39">
                  <c:v>15360</c:v>
                </c:pt>
                <c:pt idx="40">
                  <c:v>14537</c:v>
                </c:pt>
                <c:pt idx="41">
                  <c:v>11245</c:v>
                </c:pt>
                <c:pt idx="42">
                  <c:v>14961</c:v>
                </c:pt>
                <c:pt idx="43">
                  <c:v>6956</c:v>
                </c:pt>
                <c:pt idx="44">
                  <c:v>3332</c:v>
                </c:pt>
                <c:pt idx="45">
                  <c:v>10630</c:v>
                </c:pt>
                <c:pt idx="46">
                  <c:v>14028</c:v>
                </c:pt>
                <c:pt idx="47">
                  <c:v>12028</c:v>
                </c:pt>
                <c:pt idx="48">
                  <c:v>10660</c:v>
                </c:pt>
                <c:pt idx="49">
                  <c:v>9710</c:v>
                </c:pt>
                <c:pt idx="50">
                  <c:v>5466</c:v>
                </c:pt>
                <c:pt idx="51">
                  <c:v>2391</c:v>
                </c:pt>
                <c:pt idx="52">
                  <c:v>8239</c:v>
                </c:pt>
                <c:pt idx="53">
                  <c:v>10968</c:v>
                </c:pt>
                <c:pt idx="54">
                  <c:v>8848</c:v>
                </c:pt>
                <c:pt idx="55">
                  <c:v>7926</c:v>
                </c:pt>
                <c:pt idx="56">
                  <c:v>7712</c:v>
                </c:pt>
                <c:pt idx="57">
                  <c:v>3969</c:v>
                </c:pt>
                <c:pt idx="58">
                  <c:v>1744</c:v>
                </c:pt>
                <c:pt idx="59">
                  <c:v>6935</c:v>
                </c:pt>
                <c:pt idx="60">
                  <c:v>8630</c:v>
                </c:pt>
                <c:pt idx="61">
                  <c:v>7263</c:v>
                </c:pt>
                <c:pt idx="62">
                  <c:v>6245</c:v>
                </c:pt>
                <c:pt idx="63">
                  <c:v>3837</c:v>
                </c:pt>
                <c:pt idx="64">
                  <c:v>2160</c:v>
                </c:pt>
                <c:pt idx="65">
                  <c:v>1925</c:v>
                </c:pt>
                <c:pt idx="66">
                  <c:v>1419</c:v>
                </c:pt>
                <c:pt idx="67">
                  <c:v>5583</c:v>
                </c:pt>
                <c:pt idx="68">
                  <c:v>7052</c:v>
                </c:pt>
                <c:pt idx="69">
                  <c:v>5282</c:v>
                </c:pt>
                <c:pt idx="70">
                  <c:v>4818</c:v>
                </c:pt>
                <c:pt idx="71">
                  <c:v>2204</c:v>
                </c:pt>
                <c:pt idx="72">
                  <c:v>985</c:v>
                </c:pt>
                <c:pt idx="73">
                  <c:v>3868</c:v>
                </c:pt>
                <c:pt idx="74">
                  <c:v>5056</c:v>
                </c:pt>
                <c:pt idx="75">
                  <c:v>3715</c:v>
                </c:pt>
                <c:pt idx="76">
                  <c:v>3263</c:v>
                </c:pt>
                <c:pt idx="77">
                  <c:v>3217</c:v>
                </c:pt>
                <c:pt idx="78">
                  <c:v>1541</c:v>
                </c:pt>
                <c:pt idx="79">
                  <c:v>833</c:v>
                </c:pt>
                <c:pt idx="80">
                  <c:v>3341</c:v>
                </c:pt>
                <c:pt idx="81">
                  <c:v>3815</c:v>
                </c:pt>
                <c:pt idx="82">
                  <c:v>2951</c:v>
                </c:pt>
                <c:pt idx="83">
                  <c:v>2628</c:v>
                </c:pt>
                <c:pt idx="84">
                  <c:v>2601</c:v>
                </c:pt>
                <c:pt idx="85">
                  <c:v>1307</c:v>
                </c:pt>
                <c:pt idx="86">
                  <c:v>825</c:v>
                </c:pt>
                <c:pt idx="87">
                  <c:v>2579</c:v>
                </c:pt>
                <c:pt idx="88">
                  <c:v>3238</c:v>
                </c:pt>
                <c:pt idx="89">
                  <c:v>2487</c:v>
                </c:pt>
                <c:pt idx="90">
                  <c:v>2228</c:v>
                </c:pt>
                <c:pt idx="91">
                  <c:v>2166</c:v>
                </c:pt>
                <c:pt idx="92">
                  <c:v>1171</c:v>
                </c:pt>
                <c:pt idx="93">
                  <c:v>508</c:v>
                </c:pt>
                <c:pt idx="94">
                  <c:v>2217</c:v>
                </c:pt>
                <c:pt idx="95">
                  <c:v>2416</c:v>
                </c:pt>
                <c:pt idx="96">
                  <c:v>1873</c:v>
                </c:pt>
                <c:pt idx="97">
                  <c:v>1572</c:v>
                </c:pt>
                <c:pt idx="98">
                  <c:v>1638</c:v>
                </c:pt>
                <c:pt idx="99">
                  <c:v>724</c:v>
                </c:pt>
                <c:pt idx="100">
                  <c:v>383</c:v>
                </c:pt>
                <c:pt idx="101">
                  <c:v>1544</c:v>
                </c:pt>
                <c:pt idx="102">
                  <c:v>1690</c:v>
                </c:pt>
                <c:pt idx="103">
                  <c:v>1264</c:v>
                </c:pt>
                <c:pt idx="104">
                  <c:v>1223</c:v>
                </c:pt>
                <c:pt idx="105">
                  <c:v>1051</c:v>
                </c:pt>
                <c:pt idx="106">
                  <c:v>597</c:v>
                </c:pt>
                <c:pt idx="107">
                  <c:v>256</c:v>
                </c:pt>
                <c:pt idx="108">
                  <c:v>1131</c:v>
                </c:pt>
                <c:pt idx="109">
                  <c:v>1198</c:v>
                </c:pt>
                <c:pt idx="110">
                  <c:v>777</c:v>
                </c:pt>
                <c:pt idx="111">
                  <c:v>681</c:v>
                </c:pt>
                <c:pt idx="112">
                  <c:v>669</c:v>
                </c:pt>
                <c:pt idx="113">
                  <c:v>333</c:v>
                </c:pt>
                <c:pt idx="114">
                  <c:v>197</c:v>
                </c:pt>
                <c:pt idx="115">
                  <c:v>6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2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Zlínský kraj</c:v>
                </c:pt>
                <c:pt idx="2">
                  <c:v>Moravskoslezský kraj</c:v>
                </c:pt>
                <c:pt idx="3">
                  <c:v>Liberecký kraj</c:v>
                </c:pt>
                <c:pt idx="4">
                  <c:v>Jihočes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Pardubický kraj</c:v>
                </c:pt>
                <c:pt idx="9">
                  <c:v>Kraj Vysočina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8.698094594636999</c:v>
                </c:pt>
                <c:pt idx="1">
                  <c:v>36.544226270815997</c:v>
                </c:pt>
                <c:pt idx="2">
                  <c:v>31.856905487268001</c:v>
                </c:pt>
                <c:pt idx="3">
                  <c:v>30.510129362948</c:v>
                </c:pt>
                <c:pt idx="4">
                  <c:v>29.368301812908999</c:v>
                </c:pt>
                <c:pt idx="5">
                  <c:v>28.360440281195</c:v>
                </c:pt>
                <c:pt idx="6">
                  <c:v>23.622245165452</c:v>
                </c:pt>
                <c:pt idx="7">
                  <c:v>22.521309565191</c:v>
                </c:pt>
                <c:pt idx="8">
                  <c:v>22.185840843367</c:v>
                </c:pt>
                <c:pt idx="9">
                  <c:v>19.652079583060999</c:v>
                </c:pt>
                <c:pt idx="10">
                  <c:v>18.575610223776</c:v>
                </c:pt>
                <c:pt idx="11">
                  <c:v>16.750107014571999</c:v>
                </c:pt>
                <c:pt idx="12">
                  <c:v>15.093022374153</c:v>
                </c:pt>
                <c:pt idx="13">
                  <c:v>9.0776557135669993</c:v>
                </c:pt>
                <c:pt idx="14">
                  <c:v>6.13683087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á Lípa</c:v>
                </c:pt>
                <c:pt idx="1">
                  <c:v>Šumperk</c:v>
                </c:pt>
                <c:pt idx="2">
                  <c:v>Opava</c:v>
                </c:pt>
                <c:pt idx="3">
                  <c:v>Český Krumlov</c:v>
                </c:pt>
                <c:pt idx="4">
                  <c:v>Rokycany</c:v>
                </c:pt>
                <c:pt idx="5">
                  <c:v>České Budějovice</c:v>
                </c:pt>
                <c:pt idx="6">
                  <c:v>Vsetín</c:v>
                </c:pt>
                <c:pt idx="7">
                  <c:v>Ostrava-město</c:v>
                </c:pt>
                <c:pt idx="8">
                  <c:v>Zlín</c:v>
                </c:pt>
                <c:pt idx="9">
                  <c:v>Uherské Hradiště</c:v>
                </c:pt>
                <c:pt idx="10">
                  <c:v>Děčín</c:v>
                </c:pt>
                <c:pt idx="11">
                  <c:v>Znojmo</c:v>
                </c:pt>
                <c:pt idx="12">
                  <c:v>Vyškov</c:v>
                </c:pt>
                <c:pt idx="13">
                  <c:v>Frýdek-Místek</c:v>
                </c:pt>
                <c:pt idx="14">
                  <c:v>Karviná</c:v>
                </c:pt>
                <c:pt idx="15">
                  <c:v>Prostějov</c:v>
                </c:pt>
                <c:pt idx="16">
                  <c:v>Brno-venkov</c:v>
                </c:pt>
                <c:pt idx="17">
                  <c:v>Prachatice</c:v>
                </c:pt>
                <c:pt idx="18">
                  <c:v>Blansko</c:v>
                </c:pt>
                <c:pt idx="19">
                  <c:v>Pelhřimov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39.808539971649</c:v>
                </c:pt>
                <c:pt idx="1">
                  <c:v>110.86382088407601</c:v>
                </c:pt>
                <c:pt idx="2">
                  <c:v>97.851254714779998</c:v>
                </c:pt>
                <c:pt idx="3">
                  <c:v>97.847358121330004</c:v>
                </c:pt>
                <c:pt idx="4">
                  <c:v>86.887995312089004</c:v>
                </c:pt>
                <c:pt idx="5">
                  <c:v>80.874050111391995</c:v>
                </c:pt>
                <c:pt idx="6">
                  <c:v>77.521565089925005</c:v>
                </c:pt>
                <c:pt idx="7">
                  <c:v>72.481580224503006</c:v>
                </c:pt>
                <c:pt idx="8">
                  <c:v>71.440863130777998</c:v>
                </c:pt>
                <c:pt idx="9">
                  <c:v>71.312575019416002</c:v>
                </c:pt>
                <c:pt idx="10">
                  <c:v>70.845238187918</c:v>
                </c:pt>
                <c:pt idx="11">
                  <c:v>68.091347161114001</c:v>
                </c:pt>
                <c:pt idx="12">
                  <c:v>67.935515177656001</c:v>
                </c:pt>
                <c:pt idx="13">
                  <c:v>61.979523456686003</c:v>
                </c:pt>
                <c:pt idx="14">
                  <c:v>60.960791501735997</c:v>
                </c:pt>
                <c:pt idx="15">
                  <c:v>59.905625599056002</c:v>
                </c:pt>
                <c:pt idx="16">
                  <c:v>59.617915404385997</c:v>
                </c:pt>
                <c:pt idx="17">
                  <c:v>59.079540755036</c:v>
                </c:pt>
                <c:pt idx="18">
                  <c:v>58.659627511365002</c:v>
                </c:pt>
                <c:pt idx="19">
                  <c:v>58.092893302718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á Lípa</c:v>
                </c:pt>
                <c:pt idx="1">
                  <c:v>Šumperk</c:v>
                </c:pt>
                <c:pt idx="2">
                  <c:v>Opava</c:v>
                </c:pt>
                <c:pt idx="3">
                  <c:v>Český Krumlov</c:v>
                </c:pt>
                <c:pt idx="4">
                  <c:v>Rokycany</c:v>
                </c:pt>
                <c:pt idx="5">
                  <c:v>České Budějovice</c:v>
                </c:pt>
                <c:pt idx="6">
                  <c:v>Vsetín</c:v>
                </c:pt>
                <c:pt idx="7">
                  <c:v>Ostrava-město</c:v>
                </c:pt>
                <c:pt idx="8">
                  <c:v>Zlín</c:v>
                </c:pt>
                <c:pt idx="9">
                  <c:v>Uherské Hradiště</c:v>
                </c:pt>
                <c:pt idx="10">
                  <c:v>Děčín</c:v>
                </c:pt>
                <c:pt idx="11">
                  <c:v>Znojmo</c:v>
                </c:pt>
                <c:pt idx="12">
                  <c:v>Vyškov</c:v>
                </c:pt>
                <c:pt idx="13">
                  <c:v>Frýdek-Místek</c:v>
                </c:pt>
                <c:pt idx="14">
                  <c:v>Karviná</c:v>
                </c:pt>
                <c:pt idx="15">
                  <c:v>Prostějov</c:v>
                </c:pt>
                <c:pt idx="16">
                  <c:v>Brno-venkov</c:v>
                </c:pt>
                <c:pt idx="17">
                  <c:v>Prachatice</c:v>
                </c:pt>
                <c:pt idx="18">
                  <c:v>Blansko</c:v>
                </c:pt>
                <c:pt idx="19">
                  <c:v>Pelhřimov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700.01359249694099</c:v>
                </c:pt>
                <c:pt idx="1">
                  <c:v>400.11003025832099</c:v>
                </c:pt>
                <c:pt idx="2">
                  <c:v>365.80439989304602</c:v>
                </c:pt>
                <c:pt idx="3">
                  <c:v>559.36073059360695</c:v>
                </c:pt>
                <c:pt idx="4">
                  <c:v>353.613934409666</c:v>
                </c:pt>
                <c:pt idx="5">
                  <c:v>595.11093478194505</c:v>
                </c:pt>
                <c:pt idx="6">
                  <c:v>432.00654000112701</c:v>
                </c:pt>
                <c:pt idx="7">
                  <c:v>354.21433118409601</c:v>
                </c:pt>
                <c:pt idx="8">
                  <c:v>487.04938805946801</c:v>
                </c:pt>
                <c:pt idx="9">
                  <c:v>367.85991668431802</c:v>
                </c:pt>
                <c:pt idx="10">
                  <c:v>678.09013694150894</c:v>
                </c:pt>
                <c:pt idx="11">
                  <c:v>432.99113066554901</c:v>
                </c:pt>
                <c:pt idx="12">
                  <c:v>427.02323825955602</c:v>
                </c:pt>
                <c:pt idx="13">
                  <c:v>440.38082456066701</c:v>
                </c:pt>
                <c:pt idx="14">
                  <c:v>409.42585643733599</c:v>
                </c:pt>
                <c:pt idx="15">
                  <c:v>350.21750350217502</c:v>
                </c:pt>
                <c:pt idx="16">
                  <c:v>392.595013292587</c:v>
                </c:pt>
                <c:pt idx="17">
                  <c:v>401.74087713424802</c:v>
                </c:pt>
                <c:pt idx="18">
                  <c:v>454.61211321308099</c:v>
                </c:pt>
                <c:pt idx="19">
                  <c:v>535.28451686077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52-401F-B1E0-512B723D069B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á Lípa</c:v>
                </c:pt>
                <c:pt idx="1">
                  <c:v>Šumperk</c:v>
                </c:pt>
                <c:pt idx="2">
                  <c:v>Opava</c:v>
                </c:pt>
                <c:pt idx="3">
                  <c:v>Český Krumlov</c:v>
                </c:pt>
                <c:pt idx="4">
                  <c:v>Rokycany</c:v>
                </c:pt>
                <c:pt idx="5">
                  <c:v>České Budějovice</c:v>
                </c:pt>
                <c:pt idx="6">
                  <c:v>Vsetín</c:v>
                </c:pt>
                <c:pt idx="7">
                  <c:v>Ostrava-město</c:v>
                </c:pt>
                <c:pt idx="8">
                  <c:v>Zlín</c:v>
                </c:pt>
                <c:pt idx="9">
                  <c:v>Uherské Hradiště</c:v>
                </c:pt>
                <c:pt idx="10">
                  <c:v>Děčín</c:v>
                </c:pt>
                <c:pt idx="11">
                  <c:v>Znojmo</c:v>
                </c:pt>
                <c:pt idx="12">
                  <c:v>Vyškov</c:v>
                </c:pt>
                <c:pt idx="13">
                  <c:v>Frýdek-Místek</c:v>
                </c:pt>
                <c:pt idx="14">
                  <c:v>Karviná</c:v>
                </c:pt>
                <c:pt idx="15">
                  <c:v>Prostějov</c:v>
                </c:pt>
                <c:pt idx="16">
                  <c:v>Brno-venkov</c:v>
                </c:pt>
                <c:pt idx="17">
                  <c:v>Prachatice</c:v>
                </c:pt>
                <c:pt idx="18">
                  <c:v>Blansko</c:v>
                </c:pt>
                <c:pt idx="19">
                  <c:v>Pelhřimov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436.90168741140599</c:v>
                </c:pt>
                <c:pt idx="1">
                  <c:v>376.77027849325202</c:v>
                </c:pt>
                <c:pt idx="2">
                  <c:v>248.61045529278499</c:v>
                </c:pt>
                <c:pt idx="3">
                  <c:v>415.85127201565501</c:v>
                </c:pt>
                <c:pt idx="4">
                  <c:v>145.486875871405</c:v>
                </c:pt>
                <c:pt idx="5">
                  <c:v>437.94061098055897</c:v>
                </c:pt>
                <c:pt idx="6">
                  <c:v>389.72204995207699</c:v>
                </c:pt>
                <c:pt idx="7">
                  <c:v>312.61620688133797</c:v>
                </c:pt>
                <c:pt idx="8">
                  <c:v>410.393863386296</c:v>
                </c:pt>
                <c:pt idx="9">
                  <c:v>302.19586245851798</c:v>
                </c:pt>
                <c:pt idx="10">
                  <c:v>435.19217744007301</c:v>
                </c:pt>
                <c:pt idx="11">
                  <c:v>284.58691249388897</c:v>
                </c:pt>
                <c:pt idx="12">
                  <c:v>283.60381732894803</c:v>
                </c:pt>
                <c:pt idx="13">
                  <c:v>337.85830455712602</c:v>
                </c:pt>
                <c:pt idx="14">
                  <c:v>287.50427343386298</c:v>
                </c:pt>
                <c:pt idx="15">
                  <c:v>354.82562854825602</c:v>
                </c:pt>
                <c:pt idx="16">
                  <c:v>244.65426025207299</c:v>
                </c:pt>
                <c:pt idx="17">
                  <c:v>376.13974280706498</c:v>
                </c:pt>
                <c:pt idx="18">
                  <c:v>376.70479542454899</c:v>
                </c:pt>
                <c:pt idx="19">
                  <c:v>362.389001078867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52-401F-B1E0-512B723D069B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á Lípa</c:v>
                </c:pt>
                <c:pt idx="1">
                  <c:v>Šumperk</c:v>
                </c:pt>
                <c:pt idx="2">
                  <c:v>Opava</c:v>
                </c:pt>
                <c:pt idx="3">
                  <c:v>Český Krumlov</c:v>
                </c:pt>
                <c:pt idx="4">
                  <c:v>Rokycany</c:v>
                </c:pt>
                <c:pt idx="5">
                  <c:v>České Budějovice</c:v>
                </c:pt>
                <c:pt idx="6">
                  <c:v>Vsetín</c:v>
                </c:pt>
                <c:pt idx="7">
                  <c:v>Ostrava-město</c:v>
                </c:pt>
                <c:pt idx="8">
                  <c:v>Zlín</c:v>
                </c:pt>
                <c:pt idx="9">
                  <c:v>Uherské Hradiště</c:v>
                </c:pt>
                <c:pt idx="10">
                  <c:v>Děčín</c:v>
                </c:pt>
                <c:pt idx="11">
                  <c:v>Znojmo</c:v>
                </c:pt>
                <c:pt idx="12">
                  <c:v>Vyškov</c:v>
                </c:pt>
                <c:pt idx="13">
                  <c:v>Frýdek-Místek</c:v>
                </c:pt>
                <c:pt idx="14">
                  <c:v>Karviná</c:v>
                </c:pt>
                <c:pt idx="15">
                  <c:v>Prostějov</c:v>
                </c:pt>
                <c:pt idx="16">
                  <c:v>Brno-venkov</c:v>
                </c:pt>
                <c:pt idx="17">
                  <c:v>Prachatice</c:v>
                </c:pt>
                <c:pt idx="18">
                  <c:v>Blansko</c:v>
                </c:pt>
                <c:pt idx="19">
                  <c:v>Pelhřimov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124.274257752577</c:v>
                </c:pt>
                <c:pt idx="1">
                  <c:v>110.86382088407601</c:v>
                </c:pt>
                <c:pt idx="2">
                  <c:v>161.56835080812601</c:v>
                </c:pt>
                <c:pt idx="3">
                  <c:v>159.81735159817299</c:v>
                </c:pt>
                <c:pt idx="4">
                  <c:v>78.805391097010997</c:v>
                </c:pt>
                <c:pt idx="5">
                  <c:v>179.550564083783</c:v>
                </c:pt>
                <c:pt idx="6">
                  <c:v>176.89011670519201</c:v>
                </c:pt>
                <c:pt idx="7">
                  <c:v>153.47186769275299</c:v>
                </c:pt>
                <c:pt idx="8">
                  <c:v>170.519432436237</c:v>
                </c:pt>
                <c:pt idx="9">
                  <c:v>114.382546070747</c:v>
                </c:pt>
                <c:pt idx="10">
                  <c:v>145.583071880668</c:v>
                </c:pt>
                <c:pt idx="11">
                  <c:v>132.69083036524799</c:v>
                </c:pt>
                <c:pt idx="12">
                  <c:v>117.539224672453</c:v>
                </c:pt>
                <c:pt idx="13">
                  <c:v>129.551184368111</c:v>
                </c:pt>
                <c:pt idx="14">
                  <c:v>136.33798639915301</c:v>
                </c:pt>
                <c:pt idx="15">
                  <c:v>85.711125857111</c:v>
                </c:pt>
                <c:pt idx="16">
                  <c:v>132.925870642371</c:v>
                </c:pt>
                <c:pt idx="17">
                  <c:v>192.99316646645201</c:v>
                </c:pt>
                <c:pt idx="18">
                  <c:v>120.98548174219</c:v>
                </c:pt>
                <c:pt idx="19">
                  <c:v>147.99856150930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52-401F-B1E0-512B723D069B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22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á Lípa</c:v>
                </c:pt>
                <c:pt idx="1">
                  <c:v>Šumperk</c:v>
                </c:pt>
                <c:pt idx="2">
                  <c:v>Opava</c:v>
                </c:pt>
                <c:pt idx="3">
                  <c:v>Český Krumlov</c:v>
                </c:pt>
                <c:pt idx="4">
                  <c:v>Rokycany</c:v>
                </c:pt>
                <c:pt idx="5">
                  <c:v>České Budějovice</c:v>
                </c:pt>
                <c:pt idx="6">
                  <c:v>Vsetín</c:v>
                </c:pt>
                <c:pt idx="7">
                  <c:v>Ostrava-město</c:v>
                </c:pt>
                <c:pt idx="8">
                  <c:v>Zlín</c:v>
                </c:pt>
                <c:pt idx="9">
                  <c:v>Uherské Hradiště</c:v>
                </c:pt>
                <c:pt idx="10">
                  <c:v>Děčín</c:v>
                </c:pt>
                <c:pt idx="11">
                  <c:v>Znojmo</c:v>
                </c:pt>
                <c:pt idx="12">
                  <c:v>Vyškov</c:v>
                </c:pt>
                <c:pt idx="13">
                  <c:v>Frýdek-Místek</c:v>
                </c:pt>
                <c:pt idx="14">
                  <c:v>Karviná</c:v>
                </c:pt>
                <c:pt idx="15">
                  <c:v>Prostějov</c:v>
                </c:pt>
                <c:pt idx="16">
                  <c:v>Brno-venkov</c:v>
                </c:pt>
                <c:pt idx="17">
                  <c:v>Prachatice</c:v>
                </c:pt>
                <c:pt idx="18">
                  <c:v>Blansko</c:v>
                </c:pt>
                <c:pt idx="19">
                  <c:v>Pelhřimov</c:v>
                </c:pt>
              </c:strCache>
            </c:strRef>
          </c:cat>
          <c:val>
            <c:numRef>
              <c:f>Sheet1!$E$2:$E$21</c:f>
              <c:numCache>
                <c:formatCode>General</c:formatCode>
                <c:ptCount val="20"/>
                <c:pt idx="0">
                  <c:v>139.808539971649</c:v>
                </c:pt>
                <c:pt idx="1">
                  <c:v>110.86382088407601</c:v>
                </c:pt>
                <c:pt idx="2">
                  <c:v>97.851254714779998</c:v>
                </c:pt>
                <c:pt idx="3">
                  <c:v>97.847358121330004</c:v>
                </c:pt>
                <c:pt idx="4">
                  <c:v>86.887995312089004</c:v>
                </c:pt>
                <c:pt idx="5">
                  <c:v>80.874050111391995</c:v>
                </c:pt>
                <c:pt idx="6">
                  <c:v>77.521565089925005</c:v>
                </c:pt>
                <c:pt idx="7">
                  <c:v>72.481580224503006</c:v>
                </c:pt>
                <c:pt idx="8">
                  <c:v>71.440863130777998</c:v>
                </c:pt>
                <c:pt idx="9">
                  <c:v>71.312575019416002</c:v>
                </c:pt>
                <c:pt idx="10">
                  <c:v>70.845238187918</c:v>
                </c:pt>
                <c:pt idx="11">
                  <c:v>68.091347161114001</c:v>
                </c:pt>
                <c:pt idx="12">
                  <c:v>67.935515177656001</c:v>
                </c:pt>
                <c:pt idx="13">
                  <c:v>61.979523456686003</c:v>
                </c:pt>
                <c:pt idx="14">
                  <c:v>60.960791501735997</c:v>
                </c:pt>
                <c:pt idx="15">
                  <c:v>59.905625599056002</c:v>
                </c:pt>
                <c:pt idx="16">
                  <c:v>59.617915404385997</c:v>
                </c:pt>
                <c:pt idx="17">
                  <c:v>59.079540755036</c:v>
                </c:pt>
                <c:pt idx="18">
                  <c:v>58.659627511365002</c:v>
                </c:pt>
                <c:pt idx="19">
                  <c:v>58.092893302718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31-4125-A549-285CF38DF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EB98-48D6-8869-2EAA1E1FF75E}"/>
              </c:ext>
            </c:extLst>
          </c:dPt>
          <c:dPt>
            <c:idx val="1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B98-48D6-8869-2EAA1E1FF75E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á Lípa</c:v>
                </c:pt>
                <c:pt idx="1">
                  <c:v>Šumperk</c:v>
                </c:pt>
                <c:pt idx="2">
                  <c:v>Opava</c:v>
                </c:pt>
                <c:pt idx="3">
                  <c:v>Český Krumlov</c:v>
                </c:pt>
                <c:pt idx="4">
                  <c:v>Rokycany</c:v>
                </c:pt>
                <c:pt idx="5">
                  <c:v>České Budějovice</c:v>
                </c:pt>
                <c:pt idx="6">
                  <c:v>Vsetín</c:v>
                </c:pt>
                <c:pt idx="7">
                  <c:v>Ostrava-město</c:v>
                </c:pt>
                <c:pt idx="8">
                  <c:v>Zlín</c:v>
                </c:pt>
                <c:pt idx="9">
                  <c:v>Uherské Hradiště</c:v>
                </c:pt>
                <c:pt idx="10">
                  <c:v>Děčín</c:v>
                </c:pt>
                <c:pt idx="11">
                  <c:v>Znojmo</c:v>
                </c:pt>
                <c:pt idx="12">
                  <c:v>Vyškov</c:v>
                </c:pt>
                <c:pt idx="13">
                  <c:v>Frýdek-Místek</c:v>
                </c:pt>
                <c:pt idx="14">
                  <c:v>Karviná</c:v>
                </c:pt>
                <c:pt idx="15">
                  <c:v>Prostějov</c:v>
                </c:pt>
                <c:pt idx="16">
                  <c:v>Brno-venkov</c:v>
                </c:pt>
                <c:pt idx="17">
                  <c:v>Prachatice</c:v>
                </c:pt>
                <c:pt idx="18">
                  <c:v>Blansko</c:v>
                </c:pt>
                <c:pt idx="19">
                  <c:v>Pelhřimov</c:v>
                </c:pt>
              </c:strCache>
            </c:strRef>
          </c:cat>
          <c:val>
            <c:numRef>
              <c:f>Sheet1!$B$2:$B$21</c:f>
              <c:numCache>
                <c:formatCode>[$-10405]#\ ##0.0;\(#\ ##0.0\)</c:formatCode>
                <c:ptCount val="20"/>
                <c:pt idx="0">
                  <c:v>139.808539971649</c:v>
                </c:pt>
                <c:pt idx="1">
                  <c:v>110.86382088407601</c:v>
                </c:pt>
                <c:pt idx="2">
                  <c:v>97.851254714779998</c:v>
                </c:pt>
                <c:pt idx="3">
                  <c:v>97.847358121330004</c:v>
                </c:pt>
                <c:pt idx="4">
                  <c:v>86.887995312089004</c:v>
                </c:pt>
                <c:pt idx="5">
                  <c:v>80.874050111391995</c:v>
                </c:pt>
                <c:pt idx="6">
                  <c:v>77.521565089925005</c:v>
                </c:pt>
                <c:pt idx="7">
                  <c:v>72.481580224503006</c:v>
                </c:pt>
                <c:pt idx="8">
                  <c:v>71.440863130777998</c:v>
                </c:pt>
                <c:pt idx="9">
                  <c:v>71.312575019416002</c:v>
                </c:pt>
                <c:pt idx="10">
                  <c:v>70.845238187918</c:v>
                </c:pt>
                <c:pt idx="11">
                  <c:v>68.091347161114001</c:v>
                </c:pt>
                <c:pt idx="12">
                  <c:v>67.935515177656001</c:v>
                </c:pt>
                <c:pt idx="13">
                  <c:v>61.979523456686003</c:v>
                </c:pt>
                <c:pt idx="14">
                  <c:v>60.960791501735997</c:v>
                </c:pt>
                <c:pt idx="15">
                  <c:v>59.905625599056002</c:v>
                </c:pt>
                <c:pt idx="16">
                  <c:v>59.617915404385997</c:v>
                </c:pt>
                <c:pt idx="17">
                  <c:v>59.079540755036</c:v>
                </c:pt>
                <c:pt idx="18">
                  <c:v>58.659627511365002</c:v>
                </c:pt>
                <c:pt idx="19">
                  <c:v>58.092893302718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;\(#\ ##0.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5E-4BE4-A359-8EBC5A58012C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5E-4BE4-A359-8EBC5A58012C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5E-4BE4-A359-8EBC5A58012C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5E-4BE4-A359-8EBC5A58012C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05E-4BE4-A359-8EBC5A58012C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05E-4BE4-A359-8EBC5A58012C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05E-4BE4-A359-8EBC5A58012C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05E-4BE4-A359-8EBC5A58012C}"/>
              </c:ext>
            </c:extLst>
          </c:dPt>
          <c:dPt>
            <c:idx val="1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07E3-4B38-8822-1770E223A19E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[$-10405]#\ ##0.00;\(#\ ##0.00\)</c:formatCode>
                <c:ptCount val="20"/>
                <c:pt idx="0">
                  <c:v>1.1519999999999999</c:v>
                </c:pt>
                <c:pt idx="1">
                  <c:v>1.007575757575</c:v>
                </c:pt>
                <c:pt idx="2">
                  <c:v>0.67450980392100002</c:v>
                </c:pt>
                <c:pt idx="3">
                  <c:v>0.65934065933999997</c:v>
                </c:pt>
                <c:pt idx="4">
                  <c:v>1.869565217391</c:v>
                </c:pt>
                <c:pt idx="5">
                  <c:v>0.73611111111100003</c:v>
                </c:pt>
                <c:pt idx="6">
                  <c:v>0.65868263472999999</c:v>
                </c:pt>
                <c:pt idx="7">
                  <c:v>0.66473988439300002</c:v>
                </c:pt>
                <c:pt idx="8">
                  <c:v>0.76536312849099997</c:v>
                </c:pt>
                <c:pt idx="9">
                  <c:v>0.660130718954</c:v>
                </c:pt>
                <c:pt idx="10">
                  <c:v>0.70542635658899999</c:v>
                </c:pt>
                <c:pt idx="11">
                  <c:v>0.84782608695600004</c:v>
                </c:pt>
                <c:pt idx="12">
                  <c:v>0.55263157894699999</c:v>
                </c:pt>
                <c:pt idx="13">
                  <c:v>0.73888888888799997</c:v>
                </c:pt>
                <c:pt idx="14">
                  <c:v>0.76288659793799996</c:v>
                </c:pt>
                <c:pt idx="15">
                  <c:v>1.0317460317460001</c:v>
                </c:pt>
                <c:pt idx="16">
                  <c:v>0.80838323353200003</c:v>
                </c:pt>
                <c:pt idx="17">
                  <c:v>0.58823529411700004</c:v>
                </c:pt>
                <c:pt idx="18">
                  <c:v>0.735632183908</c:v>
                </c:pt>
                <c:pt idx="19">
                  <c:v>0.583333333332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05E-4BE4-A359-8EBC5A5801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9D0-47C0-898E-BF6258A712B5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D0-47C0-898E-BF6258A712B5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9D0-47C0-898E-BF6258A712B5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6638-4BEC-A569-3E54D8E2730D}"/>
              </c:ext>
            </c:extLst>
          </c:dPt>
          <c:dPt>
            <c:idx val="1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638-4BEC-A569-3E54D8E2730D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[$-10405]0.0\ %</c:formatCode>
                <c:ptCount val="20"/>
                <c:pt idx="0">
                  <c:v>8.2932692306999997E-2</c:v>
                </c:pt>
                <c:pt idx="1">
                  <c:v>8.4666666666000007E-2</c:v>
                </c:pt>
                <c:pt idx="2">
                  <c:v>3.4812015118E-2</c:v>
                </c:pt>
                <c:pt idx="3">
                  <c:v>8.2175925925000004E-2</c:v>
                </c:pt>
                <c:pt idx="4">
                  <c:v>8.6105675145999996E-2</c:v>
                </c:pt>
                <c:pt idx="5">
                  <c:v>6.3993519642999999E-2</c:v>
                </c:pt>
                <c:pt idx="6">
                  <c:v>3.8705372038000001E-2</c:v>
                </c:pt>
                <c:pt idx="7">
                  <c:v>3.3191715347000002E-2</c:v>
                </c:pt>
                <c:pt idx="8">
                  <c:v>2.1497179448E-2</c:v>
                </c:pt>
                <c:pt idx="9">
                  <c:v>2.8080469404E-2</c:v>
                </c:pt>
                <c:pt idx="10">
                  <c:v>3.7548138639E-2</c:v>
                </c:pt>
                <c:pt idx="11">
                  <c:v>4.3072132848000003E-2</c:v>
                </c:pt>
                <c:pt idx="12">
                  <c:v>4.8872180451000002E-2</c:v>
                </c:pt>
                <c:pt idx="13">
                  <c:v>3.2834101381999999E-2</c:v>
                </c:pt>
                <c:pt idx="14">
                  <c:v>2.1320093456999999E-2</c:v>
                </c:pt>
                <c:pt idx="15">
                  <c:v>6.0150375939000002E-2</c:v>
                </c:pt>
                <c:pt idx="16">
                  <c:v>3.5087719298000003E-2</c:v>
                </c:pt>
                <c:pt idx="17">
                  <c:v>4.7706422018000003E-2</c:v>
                </c:pt>
                <c:pt idx="18">
                  <c:v>3.7924151695999997E-2</c:v>
                </c:pt>
                <c:pt idx="19">
                  <c:v>4.1710114701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9D0-47C0-898E-BF6258A712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073-479C-A53C-670206C9E724}"/>
              </c:ext>
            </c:extLst>
          </c:dPt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073-479C-A53C-670206C9E724}"/>
              </c:ext>
            </c:extLst>
          </c:dPt>
          <c:dPt>
            <c:idx val="5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7073-479C-A53C-670206C9E724}"/>
              </c:ext>
            </c:extLst>
          </c:dPt>
          <c:dPt>
            <c:idx val="6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073-479C-A53C-670206C9E724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073-479C-A53C-670206C9E724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073-479C-A53C-670206C9E724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7073-479C-A53C-670206C9E724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7073-479C-A53C-670206C9E724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Rokycany</c:v>
                </c:pt>
                <c:pt idx="2">
                  <c:v>Nymburk</c:v>
                </c:pt>
                <c:pt idx="3">
                  <c:v>Náchod</c:v>
                </c:pt>
                <c:pt idx="4">
                  <c:v>Česká Lípa</c:v>
                </c:pt>
                <c:pt idx="5">
                  <c:v>Prostějov</c:v>
                </c:pt>
                <c:pt idx="6">
                  <c:v>Šumperk</c:v>
                </c:pt>
                <c:pt idx="7">
                  <c:v>Břeclav</c:v>
                </c:pt>
                <c:pt idx="8">
                  <c:v>Olomouc</c:v>
                </c:pt>
                <c:pt idx="9">
                  <c:v>Plzeň-město</c:v>
                </c:pt>
                <c:pt idx="10">
                  <c:v>Znojmo</c:v>
                </c:pt>
                <c:pt idx="11">
                  <c:v>Klatovy</c:v>
                </c:pt>
                <c:pt idx="12">
                  <c:v>Liberec</c:v>
                </c:pt>
                <c:pt idx="13">
                  <c:v>Přerov</c:v>
                </c:pt>
                <c:pt idx="14">
                  <c:v>Kladno</c:v>
                </c:pt>
                <c:pt idx="15">
                  <c:v>Brno-venkov</c:v>
                </c:pt>
                <c:pt idx="16">
                  <c:v>Pardubice</c:v>
                </c:pt>
                <c:pt idx="17">
                  <c:v>Praha</c:v>
                </c:pt>
                <c:pt idx="18">
                  <c:v>Tachov</c:v>
                </c:pt>
                <c:pt idx="19">
                  <c:v>Hradec Králové</c:v>
                </c:pt>
              </c:strCache>
            </c:strRef>
          </c:cat>
          <c:val>
            <c:numRef>
              <c:f>Sheet1!$B$2:$B$21</c:f>
              <c:numCache>
                <c:formatCode>[$-10405]#\ ##0.00;\(#\ ##0.00\)</c:formatCode>
                <c:ptCount val="20"/>
                <c:pt idx="0">
                  <c:v>2.5</c:v>
                </c:pt>
                <c:pt idx="1">
                  <c:v>1.869565217391</c:v>
                </c:pt>
                <c:pt idx="2">
                  <c:v>1.333333333333</c:v>
                </c:pt>
                <c:pt idx="3">
                  <c:v>1.1578947368420001</c:v>
                </c:pt>
                <c:pt idx="4">
                  <c:v>1.1519999999999999</c:v>
                </c:pt>
                <c:pt idx="5">
                  <c:v>1.0317460317460001</c:v>
                </c:pt>
                <c:pt idx="6">
                  <c:v>1.007575757575</c:v>
                </c:pt>
                <c:pt idx="7">
                  <c:v>0.93877551020399996</c:v>
                </c:pt>
                <c:pt idx="8">
                  <c:v>0.87179487179399995</c:v>
                </c:pt>
                <c:pt idx="9">
                  <c:v>0.85135135135100004</c:v>
                </c:pt>
                <c:pt idx="10">
                  <c:v>0.84782608695600004</c:v>
                </c:pt>
                <c:pt idx="11">
                  <c:v>0.84090909090900001</c:v>
                </c:pt>
                <c:pt idx="12">
                  <c:v>0.83157894736799998</c:v>
                </c:pt>
                <c:pt idx="13">
                  <c:v>0.82558139534800001</c:v>
                </c:pt>
                <c:pt idx="14">
                  <c:v>0.818181818181</c:v>
                </c:pt>
                <c:pt idx="15">
                  <c:v>0.80838323353200003</c:v>
                </c:pt>
                <c:pt idx="16">
                  <c:v>0.80701754385900004</c:v>
                </c:pt>
                <c:pt idx="17">
                  <c:v>0.80327868852399997</c:v>
                </c:pt>
                <c:pt idx="18">
                  <c:v>0.78571428571400004</c:v>
                </c:pt>
                <c:pt idx="19">
                  <c:v>0.779661016949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0;\(#\ ##0.0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5A9-49E6-9E93-BE08CED75D17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5A9-49E6-9E93-BE08CED75D17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5A9-49E6-9E93-BE08CED75D17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4FC-4F2A-8850-F74443BEFA26}"/>
              </c:ext>
            </c:extLst>
          </c:dPt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FC-4F2A-8850-F74443BEFA26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4FC-4F2A-8850-F74443BEFA26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4FC-4F2A-8850-F74443BEFA26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84FC-4F2A-8850-F74443BEFA2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[$-10405]#\ ##0.0;\(#\ ##0.0\)</c:formatCode>
                <c:ptCount val="20"/>
                <c:pt idx="0">
                  <c:v>16.405275936740999</c:v>
                </c:pt>
                <c:pt idx="1">
                  <c:v>86.887995312089004</c:v>
                </c:pt>
                <c:pt idx="2">
                  <c:v>39.393730487791998</c:v>
                </c:pt>
                <c:pt idx="3">
                  <c:v>20.093709755496</c:v>
                </c:pt>
                <c:pt idx="4">
                  <c:v>139.808539971649</c:v>
                </c:pt>
                <c:pt idx="5">
                  <c:v>59.905625599056002</c:v>
                </c:pt>
                <c:pt idx="6">
                  <c:v>110.86382088407601</c:v>
                </c:pt>
                <c:pt idx="7">
                  <c:v>39.491080166891997</c:v>
                </c:pt>
                <c:pt idx="8">
                  <c:v>57.763940859918002</c:v>
                </c:pt>
                <c:pt idx="9">
                  <c:v>32.334222952165</c:v>
                </c:pt>
                <c:pt idx="10">
                  <c:v>68.091347161114001</c:v>
                </c:pt>
                <c:pt idx="11">
                  <c:v>42.897058653031998</c:v>
                </c:pt>
                <c:pt idx="12">
                  <c:v>45.023224004786996</c:v>
                </c:pt>
                <c:pt idx="13">
                  <c:v>55.081031178966001</c:v>
                </c:pt>
                <c:pt idx="14">
                  <c:v>37.759597230962001</c:v>
                </c:pt>
                <c:pt idx="15">
                  <c:v>59.617915404385997</c:v>
                </c:pt>
                <c:pt idx="16">
                  <c:v>26.116034677552001</c:v>
                </c:pt>
                <c:pt idx="17">
                  <c:v>44.042172627340001</c:v>
                </c:pt>
                <c:pt idx="18">
                  <c:v>20.22467778411</c:v>
                </c:pt>
                <c:pt idx="19">
                  <c:v>27.97457962112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5A9-49E6-9E93-BE08CED75D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;\(#\ ##0.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2E-4D6A-9D87-419241CDACFF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62E-4D6A-9D87-419241CDACFF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62E-4D6A-9D87-419241CDACFF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[$-10405]0.0\ %</c:formatCode>
                <c:ptCount val="20"/>
                <c:pt idx="0">
                  <c:v>1.4687100893E-2</c:v>
                </c:pt>
                <c:pt idx="1">
                  <c:v>8.6105675145999996E-2</c:v>
                </c:pt>
                <c:pt idx="2">
                  <c:v>2.1708683473E-2</c:v>
                </c:pt>
                <c:pt idx="3">
                  <c:v>5.8601925490000002E-3</c:v>
                </c:pt>
                <c:pt idx="4">
                  <c:v>8.2932692306999997E-2</c:v>
                </c:pt>
                <c:pt idx="5">
                  <c:v>6.0150375939000002E-2</c:v>
                </c:pt>
                <c:pt idx="6">
                  <c:v>8.4666666666000007E-2</c:v>
                </c:pt>
                <c:pt idx="7">
                  <c:v>2.4663677129999999E-2</c:v>
                </c:pt>
                <c:pt idx="8">
                  <c:v>4.5320197043999998E-2</c:v>
                </c:pt>
                <c:pt idx="9">
                  <c:v>2.2385022385000002E-2</c:v>
                </c:pt>
                <c:pt idx="10">
                  <c:v>4.3072132848000003E-2</c:v>
                </c:pt>
                <c:pt idx="11">
                  <c:v>6.4873417720999998E-2</c:v>
                </c:pt>
                <c:pt idx="12">
                  <c:v>2.6688232914999999E-2</c:v>
                </c:pt>
                <c:pt idx="13">
                  <c:v>6.8991660348E-2</c:v>
                </c:pt>
                <c:pt idx="14">
                  <c:v>2.3834934187000001E-2</c:v>
                </c:pt>
                <c:pt idx="15">
                  <c:v>3.5087719298000003E-2</c:v>
                </c:pt>
                <c:pt idx="16">
                  <c:v>1.1292114031E-2</c:v>
                </c:pt>
                <c:pt idx="17">
                  <c:v>1.2736318407E-2</c:v>
                </c:pt>
                <c:pt idx="18">
                  <c:v>2.4048096192000001E-2</c:v>
                </c:pt>
                <c:pt idx="19">
                  <c:v>1.485581124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2E-4D6A-9D87-419241CDAC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H$155:$H$280</c:f>
              <c:numCache>
                <c:formatCode>General</c:formatCode>
                <c:ptCount val="12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I$155:$I$280</c:f>
              <c:numCache>
                <c:formatCode>General</c:formatCode>
                <c:ptCount val="126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B$155:$B$280</c:f>
              <c:numCache>
                <c:formatCode>General</c:formatCode>
                <c:ptCount val="126"/>
                <c:pt idx="0">
                  <c:v>445.17740376113989</c:v>
                </c:pt>
                <c:pt idx="1">
                  <c:v>444.73790246980087</c:v>
                </c:pt>
                <c:pt idx="2">
                  <c:v>455.61322165761374</c:v>
                </c:pt>
                <c:pt idx="3">
                  <c:v>456.52027751420684</c:v>
                </c:pt>
                <c:pt idx="4">
                  <c:v>461.84104846679975</c:v>
                </c:pt>
                <c:pt idx="5">
                  <c:v>468.99463331518911</c:v>
                </c:pt>
                <c:pt idx="6">
                  <c:v>467.85380017596884</c:v>
                </c:pt>
                <c:pt idx="7">
                  <c:v>473.09041130681589</c:v>
                </c:pt>
                <c:pt idx="8">
                  <c:v>483.70389993808647</c:v>
                </c:pt>
                <c:pt idx="9">
                  <c:v>482.49760915973059</c:v>
                </c:pt>
                <c:pt idx="10">
                  <c:v>491.01645333866219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64117085388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670096771639</c:v>
                </c:pt>
                <c:pt idx="19">
                  <c:v>608.74669286967128</c:v>
                </c:pt>
                <c:pt idx="20">
                  <c:v>619.85578934011119</c:v>
                </c:pt>
                <c:pt idx="21">
                  <c:v>643.26157087673676</c:v>
                </c:pt>
                <c:pt idx="22">
                  <c:v>673.48429797476865</c:v>
                </c:pt>
                <c:pt idx="23">
                  <c:v>700.20036583339402</c:v>
                </c:pt>
                <c:pt idx="24">
                  <c:v>727.16891315725661</c:v>
                </c:pt>
                <c:pt idx="25">
                  <c:v>759.78551962939014</c:v>
                </c:pt>
                <c:pt idx="26">
                  <c:v>769.5948144084233</c:v>
                </c:pt>
                <c:pt idx="27">
                  <c:v>774.44803079576207</c:v>
                </c:pt>
                <c:pt idx="28">
                  <c:v>783.02298152252411</c:v>
                </c:pt>
                <c:pt idx="29">
                  <c:v>791.78495407538787</c:v>
                </c:pt>
                <c:pt idx="30">
                  <c:v>805.25987664601416</c:v>
                </c:pt>
                <c:pt idx="31">
                  <c:v>805.82094212431912</c:v>
                </c:pt>
                <c:pt idx="32">
                  <c:v>790.79373839704897</c:v>
                </c:pt>
                <c:pt idx="33">
                  <c:v>803.00626364148889</c:v>
                </c:pt>
                <c:pt idx="34">
                  <c:v>797.34885340191306</c:v>
                </c:pt>
                <c:pt idx="35">
                  <c:v>781.71382873981236</c:v>
                </c:pt>
                <c:pt idx="36">
                  <c:v>768.44463017789792</c:v>
                </c:pt>
                <c:pt idx="37">
                  <c:v>761.88016408172882</c:v>
                </c:pt>
                <c:pt idx="38">
                  <c:v>730.05840037052758</c:v>
                </c:pt>
                <c:pt idx="39">
                  <c:v>746.8062048979333</c:v>
                </c:pt>
                <c:pt idx="40">
                  <c:v>726.47693240068043</c:v>
                </c:pt>
                <c:pt idx="41">
                  <c:v>720.39872305237577</c:v>
                </c:pt>
                <c:pt idx="42">
                  <c:v>720.17429686105368</c:v>
                </c:pt>
                <c:pt idx="43">
                  <c:v>707.73734542529189</c:v>
                </c:pt>
                <c:pt idx="44">
                  <c:v>684.28480843214084</c:v>
                </c:pt>
                <c:pt idx="45">
                  <c:v>678.81442001866662</c:v>
                </c:pt>
                <c:pt idx="46">
                  <c:v>629.72119066697496</c:v>
                </c:pt>
                <c:pt idx="47">
                  <c:v>615.78806462239959</c:v>
                </c:pt>
                <c:pt idx="48">
                  <c:v>606.97933661301045</c:v>
                </c:pt>
                <c:pt idx="49">
                  <c:v>584.6395794851644</c:v>
                </c:pt>
                <c:pt idx="50">
                  <c:v>556.02524009160697</c:v>
                </c:pt>
                <c:pt idx="51">
                  <c:v>526.28876974143952</c:v>
                </c:pt>
                <c:pt idx="52">
                  <c:v>500.71353502203442</c:v>
                </c:pt>
                <c:pt idx="53">
                  <c:v>482.01135241186614</c:v>
                </c:pt>
                <c:pt idx="54">
                  <c:v>468.01276872815527</c:v>
                </c:pt>
                <c:pt idx="55">
                  <c:v>461.96261265376586</c:v>
                </c:pt>
                <c:pt idx="56">
                  <c:v>449.75943850063106</c:v>
                </c:pt>
                <c:pt idx="57">
                  <c:v>427.8965870293444</c:v>
                </c:pt>
                <c:pt idx="58">
                  <c:v>413.07510731078605</c:v>
                </c:pt>
                <c:pt idx="59">
                  <c:v>397.11161987397003</c:v>
                </c:pt>
                <c:pt idx="60">
                  <c:v>360.90267999417199</c:v>
                </c:pt>
                <c:pt idx="61">
                  <c:v>343.99894522189999</c:v>
                </c:pt>
                <c:pt idx="62">
                  <c:v>345.690253123383</c:v>
                </c:pt>
                <c:pt idx="63">
                  <c:v>294.14741121965</c:v>
                </c:pt>
                <c:pt idx="64">
                  <c:v>265.66615992839297</c:v>
                </c:pt>
                <c:pt idx="65">
                  <c:v>263.69452475042198</c:v>
                </c:pt>
                <c:pt idx="66">
                  <c:v>254.69601917513299</c:v>
                </c:pt>
                <c:pt idx="67">
                  <c:v>263.86272111631502</c:v>
                </c:pt>
                <c:pt idx="68">
                  <c:v>264.27386778849899</c:v>
                </c:pt>
                <c:pt idx="69">
                  <c:v>255.49027979185101</c:v>
                </c:pt>
                <c:pt idx="70">
                  <c:v>278.374329795883</c:v>
                </c:pt>
                <c:pt idx="71">
                  <c:v>273.45925821477999</c:v>
                </c:pt>
                <c:pt idx="72">
                  <c:v>242.27752082668101</c:v>
                </c:pt>
                <c:pt idx="73">
                  <c:v>223.411495118988</c:v>
                </c:pt>
                <c:pt idx="74">
                  <c:v>208.451362797038</c:v>
                </c:pt>
                <c:pt idx="75">
                  <c:v>202.25612998663601</c:v>
                </c:pt>
                <c:pt idx="76">
                  <c:v>200.83580511909301</c:v>
                </c:pt>
                <c:pt idx="77">
                  <c:v>195.91138929544101</c:v>
                </c:pt>
                <c:pt idx="78">
                  <c:v>184.31518429135599</c:v>
                </c:pt>
                <c:pt idx="79">
                  <c:v>177.176182983442</c:v>
                </c:pt>
                <c:pt idx="80">
                  <c:v>171.24258896443001</c:v>
                </c:pt>
                <c:pt idx="81">
                  <c:v>165.48653555386099</c:v>
                </c:pt>
                <c:pt idx="82">
                  <c:v>163.29998279724899</c:v>
                </c:pt>
                <c:pt idx="83">
                  <c:v>163.225228856852</c:v>
                </c:pt>
                <c:pt idx="84">
                  <c:v>156.10491603403801</c:v>
                </c:pt>
                <c:pt idx="85">
                  <c:v>150.713288082904</c:v>
                </c:pt>
                <c:pt idx="86">
                  <c:v>146.37755953987801</c:v>
                </c:pt>
                <c:pt idx="87">
                  <c:v>142.639862520028</c:v>
                </c:pt>
                <c:pt idx="88">
                  <c:v>138.575117010941</c:v>
                </c:pt>
                <c:pt idx="89">
                  <c:v>137.304300024192</c:v>
                </c:pt>
                <c:pt idx="90">
                  <c:v>134.34217513596101</c:v>
                </c:pt>
                <c:pt idx="91">
                  <c:v>130.95955933299601</c:v>
                </c:pt>
                <c:pt idx="92">
                  <c:v>123.278591957204</c:v>
                </c:pt>
                <c:pt idx="93">
                  <c:v>117.541227031735</c:v>
                </c:pt>
                <c:pt idx="94">
                  <c:v>111.41140391918</c:v>
                </c:pt>
                <c:pt idx="95">
                  <c:v>106.47764385297801</c:v>
                </c:pt>
                <c:pt idx="96">
                  <c:v>102.300767433296</c:v>
                </c:pt>
                <c:pt idx="97">
                  <c:v>101.142081357142</c:v>
                </c:pt>
                <c:pt idx="98">
                  <c:v>94.853406121245001</c:v>
                </c:pt>
                <c:pt idx="99">
                  <c:v>88.069486030217007</c:v>
                </c:pt>
                <c:pt idx="100">
                  <c:v>82.378842317495</c:v>
                </c:pt>
                <c:pt idx="101">
                  <c:v>79.117701667676002</c:v>
                </c:pt>
                <c:pt idx="102">
                  <c:v>73.632631291045996</c:v>
                </c:pt>
                <c:pt idx="103">
                  <c:v>72.445912487243007</c:v>
                </c:pt>
                <c:pt idx="104">
                  <c:v>71.249849440890998</c:v>
                </c:pt>
                <c:pt idx="105">
                  <c:v>67.390677267895995</c:v>
                </c:pt>
                <c:pt idx="106">
                  <c:v>62.802654176030003</c:v>
                </c:pt>
                <c:pt idx="107">
                  <c:v>58.252008054363003</c:v>
                </c:pt>
                <c:pt idx="108">
                  <c:v>53.215461320114997</c:v>
                </c:pt>
                <c:pt idx="109">
                  <c:v>49.673993393807002</c:v>
                </c:pt>
                <c:pt idx="110">
                  <c:v>47.216457603255002</c:v>
                </c:pt>
                <c:pt idx="111">
                  <c:v>46.7</c:v>
                </c:pt>
                <c:pt idx="112">
                  <c:v>4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C$155:$C$280</c:f>
              <c:numCache>
                <c:formatCode>General</c:formatCode>
                <c:ptCount val="1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D$155:$D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4.6939331319042</c:v>
                </c:pt>
                <c:pt idx="86" formatCode="0">
                  <c:v>158.12516246310662</c:v>
                </c:pt>
                <c:pt idx="87" formatCode="0">
                  <c:v>151.50280042521626</c:v>
                </c:pt>
                <c:pt idx="88" formatCode="0">
                  <c:v>144.93402975641871</c:v>
                </c:pt>
                <c:pt idx="89" formatCode="0">
                  <c:v>138.3422913580099</c:v>
                </c:pt>
                <c:pt idx="90" formatCode="0">
                  <c:v>131.68164977076759</c:v>
                </c:pt>
                <c:pt idx="91" formatCode="0">
                  <c:v>124.92148135521016</c:v>
                </c:pt>
                <c:pt idx="92" formatCode="0">
                  <c:v>118.84268891811774</c:v>
                </c:pt>
                <c:pt idx="93" formatCode="0">
                  <c:v>113.19262743376736</c:v>
                </c:pt>
                <c:pt idx="94" formatCode="0">
                  <c:v>107.81817870475116</c:v>
                </c:pt>
                <c:pt idx="95" formatCode="0">
                  <c:v>102.59684817314283</c:v>
                </c:pt>
                <c:pt idx="96" formatCode="0">
                  <c:v>97.559259478423925</c:v>
                </c:pt>
                <c:pt idx="97" formatCode="0">
                  <c:v>92.759003989687216</c:v>
                </c:pt>
                <c:pt idx="98" formatCode="0">
                  <c:v>88.226705346414278</c:v>
                </c:pt>
                <c:pt idx="99" formatCode="0">
                  <c:v>84.008299007827475</c:v>
                </c:pt>
                <c:pt idx="100" formatCode="0">
                  <c:v>80.004258145611715</c:v>
                </c:pt>
                <c:pt idx="101" formatCode="0">
                  <c:v>76.160991390674198</c:v>
                </c:pt>
                <c:pt idx="102" formatCode="0">
                  <c:v>72.478498743014939</c:v>
                </c:pt>
                <c:pt idx="103" formatCode="0">
                  <c:v>68.995059751985906</c:v>
                </c:pt>
                <c:pt idx="104" formatCode="0">
                  <c:v>65.7106744175871</c:v>
                </c:pt>
                <c:pt idx="105" formatCode="0">
                  <c:v>62.602375010207361</c:v>
                </c:pt>
                <c:pt idx="106" formatCode="0">
                  <c:v>59.647193800235485</c:v>
                </c:pt>
                <c:pt idx="107" formatCode="0">
                  <c:v>56.829818967930684</c:v>
                </c:pt>
                <c:pt idx="108" formatCode="0">
                  <c:v>54.150250513292974</c:v>
                </c:pt>
                <c:pt idx="109" formatCode="0">
                  <c:v>51.608488436322347</c:v>
                </c:pt>
                <c:pt idx="110" formatCode="0">
                  <c:v>49.204532737018802</c:v>
                </c:pt>
                <c:pt idx="111" formatCode="0">
                  <c:v>46.915415685771151</c:v>
                </c:pt>
                <c:pt idx="112" formatCode="0">
                  <c:v>44.748793192449803</c:v>
                </c:pt>
                <c:pt idx="113" formatCode="0">
                  <c:v>42.697009347184355</c:v>
                </c:pt>
                <c:pt idx="114" formatCode="0">
                  <c:v>40.737096420363628</c:v>
                </c:pt>
                <c:pt idx="115" formatCode="0">
                  <c:v>38.884366231728407</c:v>
                </c:pt>
                <c:pt idx="116" formatCode="0">
                  <c:v>37.123506961537906</c:v>
                </c:pt>
                <c:pt idx="117" formatCode="0">
                  <c:v>35.446862699921745</c:v>
                </c:pt>
                <c:pt idx="118" formatCode="0">
                  <c:v>33.862089356750296</c:v>
                </c:pt>
                <c:pt idx="119" formatCode="0">
                  <c:v>32.353875112282779</c:v>
                </c:pt>
                <c:pt idx="120" formatCode="0">
                  <c:v>30.914564056648807</c:v>
                </c:pt>
                <c:pt idx="121" formatCode="0">
                  <c:v>29.559468009589164</c:v>
                </c:pt>
                <c:pt idx="122" formatCode="0">
                  <c:v>28.265619241492672</c:v>
                </c:pt>
                <c:pt idx="123" formatCode="0">
                  <c:v>27.040673662229718</c:v>
                </c:pt>
                <c:pt idx="124" formatCode="0">
                  <c:v>25.876975361929908</c:v>
                </c:pt>
                <c:pt idx="125" formatCode="0">
                  <c:v>24.774524340593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E$155:$E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5.70451323479614</c:v>
                </c:pt>
                <c:pt idx="86" formatCode="0">
                  <c:v>160.69754817955882</c:v>
                </c:pt>
                <c:pt idx="87" formatCode="0">
                  <c:v>155.93557224017411</c:v>
                </c:pt>
                <c:pt idx="88" formatCode="0">
                  <c:v>151.37264995741961</c:v>
                </c:pt>
                <c:pt idx="89" formatCode="0">
                  <c:v>147.03940497077687</c:v>
                </c:pt>
                <c:pt idx="90" formatCode="0">
                  <c:v>142.94349319011638</c:v>
                </c:pt>
                <c:pt idx="91" formatCode="0">
                  <c:v>139.07725870556766</c:v>
                </c:pt>
                <c:pt idx="92" formatCode="0">
                  <c:v>135.22633604075978</c:v>
                </c:pt>
                <c:pt idx="93" formatCode="0">
                  <c:v>131.4443165647854</c:v>
                </c:pt>
                <c:pt idx="94" formatCode="0">
                  <c:v>127.7847916467373</c:v>
                </c:pt>
                <c:pt idx="95" formatCode="0">
                  <c:v>124.27072901622672</c:v>
                </c:pt>
                <c:pt idx="96" formatCode="0">
                  <c:v>120.87150503377202</c:v>
                </c:pt>
                <c:pt idx="97" formatCode="0">
                  <c:v>117.57946378950282</c:v>
                </c:pt>
                <c:pt idx="98" formatCode="0">
                  <c:v>114.37163755380797</c:v>
                </c:pt>
                <c:pt idx="99" formatCode="0">
                  <c:v>111.23271450694666</c:v>
                </c:pt>
                <c:pt idx="100" formatCode="0">
                  <c:v>108.18566237853005</c:v>
                </c:pt>
                <c:pt idx="101" formatCode="0">
                  <c:v>105.23813707842855</c:v>
                </c:pt>
                <c:pt idx="102" formatCode="0">
                  <c:v>102.3901386066422</c:v>
                </c:pt>
                <c:pt idx="103" formatCode="0">
                  <c:v>99.618699233559767</c:v>
                </c:pt>
                <c:pt idx="104" formatCode="0">
                  <c:v>96.916163049310853</c:v>
                </c:pt>
                <c:pt idx="105" formatCode="0">
                  <c:v>94.290185963765907</c:v>
                </c:pt>
                <c:pt idx="106" formatCode="0">
                  <c:v>91.74842388679528</c:v>
                </c:pt>
                <c:pt idx="107" formatCode="0">
                  <c:v>89.283220908528591</c:v>
                </c:pt>
                <c:pt idx="108" formatCode="0">
                  <c:v>86.894577028965827</c:v>
                </c:pt>
                <c:pt idx="109" formatCode="0">
                  <c:v>84.5671804283662</c:v>
                </c:pt>
                <c:pt idx="110" formatCode="0">
                  <c:v>82.316342926470512</c:v>
                </c:pt>
                <c:pt idx="111" formatCode="0">
                  <c:v>80.126752703537989</c:v>
                </c:pt>
                <c:pt idx="112" formatCode="0">
                  <c:v>77.998409759568617</c:v>
                </c:pt>
                <c:pt idx="113" formatCode="0">
                  <c:v>75.931314094562396</c:v>
                </c:pt>
                <c:pt idx="114" formatCode="0">
                  <c:v>73.925465708519297</c:v>
                </c:pt>
                <c:pt idx="115" formatCode="0">
                  <c:v>71.973208691568971</c:v>
                </c:pt>
                <c:pt idx="116" formatCode="0">
                  <c:v>70.082198953581766</c:v>
                </c:pt>
                <c:pt idx="117" formatCode="0">
                  <c:v>68.237124674816968</c:v>
                </c:pt>
                <c:pt idx="118" formatCode="0">
                  <c:v>66.453297675015278</c:v>
                </c:pt>
                <c:pt idx="119" formatCode="0">
                  <c:v>64.715406134435952</c:v>
                </c:pt>
                <c:pt idx="120" formatCode="0">
                  <c:v>63.03110596294939</c:v>
                </c:pt>
                <c:pt idx="121" formatCode="0">
                  <c:v>61.400397160555592</c:v>
                </c:pt>
                <c:pt idx="122" formatCode="0">
                  <c:v>59.815623817384143</c:v>
                </c:pt>
                <c:pt idx="123" formatCode="0">
                  <c:v>58.27678593343505</c:v>
                </c:pt>
                <c:pt idx="124" formatCode="0">
                  <c:v>56.783883508708321</c:v>
                </c:pt>
                <c:pt idx="125" formatCode="0">
                  <c:v>55.329260633333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F$155:$F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6.70743742781769</c:v>
                </c:pt>
                <c:pt idx="86" formatCode="0">
                  <c:v>163.26227798614065</c:v>
                </c:pt>
                <c:pt idx="87" formatCode="0">
                  <c:v>160.36068814526149</c:v>
                </c:pt>
                <c:pt idx="88" formatCode="0">
                  <c:v>157.8036142485501</c:v>
                </c:pt>
                <c:pt idx="89" formatCode="0">
                  <c:v>155.77479813289582</c:v>
                </c:pt>
                <c:pt idx="90" formatCode="0">
                  <c:v>154.36611071674341</c:v>
                </c:pt>
                <c:pt idx="91" formatCode="0">
                  <c:v>153.61583154944486</c:v>
                </c:pt>
                <c:pt idx="92" formatCode="0">
                  <c:v>152.32198278134837</c:v>
                </c:pt>
                <c:pt idx="93" formatCode="0">
                  <c:v>150.80611262701044</c:v>
                </c:pt>
                <c:pt idx="94" formatCode="0">
                  <c:v>149.32852202202454</c:v>
                </c:pt>
                <c:pt idx="95" formatCode="0">
                  <c:v>148.10357644276158</c:v>
                </c:pt>
                <c:pt idx="96" formatCode="0">
                  <c:v>147.02409315103611</c:v>
                </c:pt>
                <c:pt idx="97" formatCode="0">
                  <c:v>145.97523349879222</c:v>
                </c:pt>
                <c:pt idx="98" formatCode="0">
                  <c:v>144.84981474784436</c:v>
                </c:pt>
                <c:pt idx="99" formatCode="0">
                  <c:v>143.59424552909985</c:v>
                </c:pt>
                <c:pt idx="100" formatCode="0">
                  <c:v>142.36929994983686</c:v>
                </c:pt>
                <c:pt idx="101" formatCode="0">
                  <c:v>141.23622528901865</c:v>
                </c:pt>
                <c:pt idx="102" formatCode="0">
                  <c:v>140.17970972690432</c:v>
                </c:pt>
                <c:pt idx="103" formatCode="0">
                  <c:v>139.10788234504926</c:v>
                </c:pt>
                <c:pt idx="104" formatCode="0">
                  <c:v>138.0054313237126</c:v>
                </c:pt>
                <c:pt idx="105" formatCode="0">
                  <c:v>136.88001257276477</c:v>
                </c:pt>
                <c:pt idx="106" formatCode="0">
                  <c:v>135.76224973168732</c:v>
                </c:pt>
                <c:pt idx="107" formatCode="0">
                  <c:v>134.69807825970261</c:v>
                </c:pt>
                <c:pt idx="108" formatCode="0">
                  <c:v>133.66453042719951</c:v>
                </c:pt>
                <c:pt idx="109" formatCode="0">
                  <c:v>132.63098259469638</c:v>
                </c:pt>
                <c:pt idx="110" formatCode="0">
                  <c:v>131.58212294245249</c:v>
                </c:pt>
                <c:pt idx="111" formatCode="0">
                  <c:v>130.53326329020857</c:v>
                </c:pt>
                <c:pt idx="112" formatCode="0">
                  <c:v>129.50737136757584</c:v>
                </c:pt>
                <c:pt idx="113" formatCode="0">
                  <c:v>128.49679126468391</c:v>
                </c:pt>
                <c:pt idx="114" formatCode="0">
                  <c:v>127.50152298153277</c:v>
                </c:pt>
                <c:pt idx="115" formatCode="0">
                  <c:v>126.51391060825202</c:v>
                </c:pt>
                <c:pt idx="116" formatCode="0">
                  <c:v>125.52629823497125</c:v>
                </c:pt>
                <c:pt idx="117" formatCode="0">
                  <c:v>124.55399768143127</c:v>
                </c:pt>
                <c:pt idx="118" formatCode="0">
                  <c:v>123.5816971278913</c:v>
                </c:pt>
                <c:pt idx="119" formatCode="0">
                  <c:v>122.62470839409212</c:v>
                </c:pt>
                <c:pt idx="120" formatCode="0">
                  <c:v>121.68303148003372</c:v>
                </c:pt>
                <c:pt idx="121" formatCode="0">
                  <c:v>120.74135456597533</c:v>
                </c:pt>
                <c:pt idx="122" formatCode="0">
                  <c:v>119.80733356178732</c:v>
                </c:pt>
                <c:pt idx="123" formatCode="0">
                  <c:v>118.8809684674697</c:v>
                </c:pt>
                <c:pt idx="124" formatCode="0">
                  <c:v>117.9622592830225</c:v>
                </c:pt>
                <c:pt idx="125" formatCode="0">
                  <c:v>117.05886191831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 - 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464.03112391804046</c:v>
                </c:pt>
                <c:pt idx="1">
                  <c:v>488.62174779372089</c:v>
                </c:pt>
                <c:pt idx="2">
                  <c:v>526.6354415254774</c:v>
                </c:pt>
                <c:pt idx="3">
                  <c:v>652.28417739137001</c:v>
                </c:pt>
                <c:pt idx="4">
                  <c:v>849.5592942105867</c:v>
                </c:pt>
                <c:pt idx="5">
                  <c:v>901.21610812392873</c:v>
                </c:pt>
                <c:pt idx="6">
                  <c:v>817.26690894207582</c:v>
                </c:pt>
                <c:pt idx="7">
                  <c:v>692.88346244786248</c:v>
                </c:pt>
                <c:pt idx="8">
                  <c:v>535.38244196447772</c:v>
                </c:pt>
                <c:pt idx="9">
                  <c:v>397.0808123817921</c:v>
                </c:pt>
                <c:pt idx="10">
                  <c:v>305.26481406297648</c:v>
                </c:pt>
                <c:pt idx="11">
                  <c:v>219.7752626025574</c:v>
                </c:pt>
                <c:pt idx="12">
                  <c:v>183.02685824248022</c:v>
                </c:pt>
                <c:pt idx="13">
                  <c:v>150.62444781121457</c:v>
                </c:pt>
                <c:pt idx="14">
                  <c:v>111.4554898705335</c:v>
                </c:pt>
                <c:pt idx="15">
                  <c:v>82.518872066041581</c:v>
                </c:pt>
                <c:pt idx="16">
                  <c:v>52.206939727115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 - 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3:$R$3</c:f>
              <c:numCache>
                <c:formatCode>###0</c:formatCode>
                <c:ptCount val="17"/>
                <c:pt idx="0">
                  <c:v>517.0374863050497</c:v>
                </c:pt>
                <c:pt idx="1">
                  <c:v>558.03831778767847</c:v>
                </c:pt>
                <c:pt idx="2">
                  <c:v>600.85789396481152</c:v>
                </c:pt>
                <c:pt idx="3">
                  <c:v>739.51740795669105</c:v>
                </c:pt>
                <c:pt idx="4">
                  <c:v>930.32744916707338</c:v>
                </c:pt>
                <c:pt idx="5">
                  <c:v>965.91158449433078</c:v>
                </c:pt>
                <c:pt idx="6">
                  <c:v>864.61541259607145</c:v>
                </c:pt>
                <c:pt idx="7">
                  <c:v>712.78976853310667</c:v>
                </c:pt>
                <c:pt idx="8">
                  <c:v>522.09834110714849</c:v>
                </c:pt>
                <c:pt idx="9">
                  <c:v>382.45037891173399</c:v>
                </c:pt>
                <c:pt idx="10">
                  <c:v>293.84588194686313</c:v>
                </c:pt>
                <c:pt idx="11">
                  <c:v>222.79622507677257</c:v>
                </c:pt>
                <c:pt idx="12">
                  <c:v>184.72120027660716</c:v>
                </c:pt>
                <c:pt idx="13">
                  <c:v>156.76788508063945</c:v>
                </c:pt>
                <c:pt idx="14">
                  <c:v>114.14599854421338</c:v>
                </c:pt>
                <c:pt idx="15">
                  <c:v>85.994993707538654</c:v>
                </c:pt>
                <c:pt idx="16">
                  <c:v>52.9017478531892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 - 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4:$R$4</c:f>
              <c:numCache>
                <c:formatCode>###0</c:formatCode>
                <c:ptCount val="17"/>
                <c:pt idx="0">
                  <c:v>522.28259747739548</c:v>
                </c:pt>
                <c:pt idx="1">
                  <c:v>548.05941354722643</c:v>
                </c:pt>
                <c:pt idx="2">
                  <c:v>579.72663485176486</c:v>
                </c:pt>
                <c:pt idx="3">
                  <c:v>697.68577557757339</c:v>
                </c:pt>
                <c:pt idx="4">
                  <c:v>875.40483949652514</c:v>
                </c:pt>
                <c:pt idx="5">
                  <c:v>920.06115952375194</c:v>
                </c:pt>
                <c:pt idx="6">
                  <c:v>872.23308283168274</c:v>
                </c:pt>
                <c:pt idx="7">
                  <c:v>741.33518872707236</c:v>
                </c:pt>
                <c:pt idx="8">
                  <c:v>559.99126004830055</c:v>
                </c:pt>
                <c:pt idx="9">
                  <c:v>405.63243569263307</c:v>
                </c:pt>
                <c:pt idx="10">
                  <c:v>320.64949521240908</c:v>
                </c:pt>
                <c:pt idx="11">
                  <c:v>221.56985844399628</c:v>
                </c:pt>
                <c:pt idx="12">
                  <c:v>184.36464931195511</c:v>
                </c:pt>
                <c:pt idx="13">
                  <c:v>152.999500070735</c:v>
                </c:pt>
                <c:pt idx="14">
                  <c:v>113.17633305660161</c:v>
                </c:pt>
                <c:pt idx="15">
                  <c:v>76.373886675651519</c:v>
                </c:pt>
                <c:pt idx="16">
                  <c:v>47.2742779093189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 - 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5:$R$5</c:f>
              <c:numCache>
                <c:formatCode>###0</c:formatCode>
                <c:ptCount val="17"/>
                <c:pt idx="0">
                  <c:v>323.28510855406842</c:v>
                </c:pt>
                <c:pt idx="1">
                  <c:v>346.70820465447082</c:v>
                </c:pt>
                <c:pt idx="2">
                  <c:v>351.57835334861386</c:v>
                </c:pt>
                <c:pt idx="3">
                  <c:v>416.82288506062577</c:v>
                </c:pt>
                <c:pt idx="4">
                  <c:v>524.89380370208619</c:v>
                </c:pt>
                <c:pt idx="5">
                  <c:v>579.62499855055114</c:v>
                </c:pt>
                <c:pt idx="6">
                  <c:v>526.43988265260782</c:v>
                </c:pt>
                <c:pt idx="7">
                  <c:v>468.61652990309966</c:v>
                </c:pt>
                <c:pt idx="8">
                  <c:v>367.19375074888211</c:v>
                </c:pt>
                <c:pt idx="9">
                  <c:v>283.24166373555875</c:v>
                </c:pt>
                <c:pt idx="10">
                  <c:v>208.72065832041721</c:v>
                </c:pt>
                <c:pt idx="11">
                  <c:v>156.69510163536506</c:v>
                </c:pt>
                <c:pt idx="12">
                  <c:v>120.36224629810725</c:v>
                </c:pt>
                <c:pt idx="13">
                  <c:v>99.567484413591615</c:v>
                </c:pt>
                <c:pt idx="14">
                  <c:v>74.752917257719787</c:v>
                </c:pt>
                <c:pt idx="15">
                  <c:v>48.083055361222037</c:v>
                </c:pt>
                <c:pt idx="16">
                  <c:v>25.7422145261847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6:$R$6</c:f>
              <c:numCache>
                <c:formatCode>###0</c:formatCode>
                <c:ptCount val="17"/>
                <c:pt idx="0">
                  <c:v>421.7516048417591</c:v>
                </c:pt>
                <c:pt idx="1">
                  <c:v>410.18726141313942</c:v>
                </c:pt>
                <c:pt idx="2">
                  <c:v>383.24234122445563</c:v>
                </c:pt>
                <c:pt idx="3">
                  <c:v>444.9959351332846</c:v>
                </c:pt>
                <c:pt idx="4">
                  <c:v>532.76930175650784</c:v>
                </c:pt>
                <c:pt idx="5">
                  <c:v>557.17006639089527</c:v>
                </c:pt>
                <c:pt idx="6">
                  <c:v>489.63430076775649</c:v>
                </c:pt>
                <c:pt idx="7">
                  <c:v>439.56069372183333</c:v>
                </c:pt>
                <c:pt idx="8">
                  <c:v>340.80120084142146</c:v>
                </c:pt>
                <c:pt idx="9">
                  <c:v>252.33397361248103</c:v>
                </c:pt>
                <c:pt idx="10">
                  <c:v>182.02276556647348</c:v>
                </c:pt>
                <c:pt idx="11">
                  <c:v>144.66993629203196</c:v>
                </c:pt>
                <c:pt idx="12">
                  <c:v>98.181275708980934</c:v>
                </c:pt>
                <c:pt idx="13">
                  <c:v>80.372186828906649</c:v>
                </c:pt>
                <c:pt idx="14">
                  <c:v>54.699344417371002</c:v>
                </c:pt>
                <c:pt idx="15">
                  <c:v>37.352829274441511</c:v>
                </c:pt>
                <c:pt idx="16">
                  <c:v>28.332641400118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40.81464227856731</c:v>
                </c:pt>
                <c:pt idx="1">
                  <c:v>468.63245234880145</c:v>
                </c:pt>
                <c:pt idx="2">
                  <c:v>495.5719036193708</c:v>
                </c:pt>
                <c:pt idx="3">
                  <c:v>608.23543604020142</c:v>
                </c:pt>
                <c:pt idx="4">
                  <c:v>768.93771940865508</c:v>
                </c:pt>
                <c:pt idx="5">
                  <c:v>802.39010773631321</c:v>
                </c:pt>
                <c:pt idx="6">
                  <c:v>725.87944973998231</c:v>
                </c:pt>
                <c:pt idx="7">
                  <c:v>615.22492946732109</c:v>
                </c:pt>
                <c:pt idx="8">
                  <c:v>467.64196263854114</c:v>
                </c:pt>
                <c:pt idx="9">
                  <c:v>343.9428797666032</c:v>
                </c:pt>
                <c:pt idx="10">
                  <c:v>264.22714657575085</c:v>
                </c:pt>
                <c:pt idx="11">
                  <c:v>202.21875301643826</c:v>
                </c:pt>
                <c:pt idx="12">
                  <c:v>163.29063855469983</c:v>
                </c:pt>
                <c:pt idx="13">
                  <c:v>137.28561153909297</c:v>
                </c:pt>
                <c:pt idx="14">
                  <c:v>102.27273470564747</c:v>
                </c:pt>
                <c:pt idx="15">
                  <c:v>72.44591248724393</c:v>
                </c:pt>
                <c:pt idx="16">
                  <c:v>47.207113360706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202</c:v>
                </c:pt>
                <c:pt idx="1">
                  <c:v>1438</c:v>
                </c:pt>
                <c:pt idx="2">
                  <c:v>1432</c:v>
                </c:pt>
                <c:pt idx="3">
                  <c:v>1328</c:v>
                </c:pt>
                <c:pt idx="4">
                  <c:v>1412</c:v>
                </c:pt>
                <c:pt idx="5">
                  <c:v>771</c:v>
                </c:pt>
                <c:pt idx="6">
                  <c:v>448</c:v>
                </c:pt>
                <c:pt idx="7">
                  <c:v>1122</c:v>
                </c:pt>
                <c:pt idx="8">
                  <c:v>1466</c:v>
                </c:pt>
                <c:pt idx="9">
                  <c:v>1383</c:v>
                </c:pt>
                <c:pt idx="10">
                  <c:v>1387</c:v>
                </c:pt>
                <c:pt idx="11">
                  <c:v>1328</c:v>
                </c:pt>
                <c:pt idx="12">
                  <c:v>728</c:v>
                </c:pt>
                <c:pt idx="13">
                  <c:v>457</c:v>
                </c:pt>
                <c:pt idx="14">
                  <c:v>1302</c:v>
                </c:pt>
                <c:pt idx="15">
                  <c:v>1760</c:v>
                </c:pt>
                <c:pt idx="16">
                  <c:v>1459</c:v>
                </c:pt>
                <c:pt idx="17">
                  <c:v>1600</c:v>
                </c:pt>
                <c:pt idx="18">
                  <c:v>1717</c:v>
                </c:pt>
                <c:pt idx="19">
                  <c:v>945</c:v>
                </c:pt>
                <c:pt idx="20">
                  <c:v>581</c:v>
                </c:pt>
                <c:pt idx="21">
                  <c:v>1632</c:v>
                </c:pt>
                <c:pt idx="22">
                  <c:v>2109</c:v>
                </c:pt>
                <c:pt idx="23">
                  <c:v>1924</c:v>
                </c:pt>
                <c:pt idx="24">
                  <c:v>2007</c:v>
                </c:pt>
                <c:pt idx="25">
                  <c:v>2093</c:v>
                </c:pt>
                <c:pt idx="26">
                  <c:v>1051</c:v>
                </c:pt>
                <c:pt idx="27">
                  <c:v>657</c:v>
                </c:pt>
                <c:pt idx="28">
                  <c:v>1851</c:v>
                </c:pt>
                <c:pt idx="29">
                  <c:v>2399</c:v>
                </c:pt>
                <c:pt idx="30">
                  <c:v>2167</c:v>
                </c:pt>
                <c:pt idx="31">
                  <c:v>2054</c:v>
                </c:pt>
                <c:pt idx="32">
                  <c:v>1877</c:v>
                </c:pt>
                <c:pt idx="33">
                  <c:v>1311</c:v>
                </c:pt>
                <c:pt idx="34">
                  <c:v>645</c:v>
                </c:pt>
                <c:pt idx="35">
                  <c:v>1543</c:v>
                </c:pt>
                <c:pt idx="36">
                  <c:v>1983</c:v>
                </c:pt>
                <c:pt idx="37">
                  <c:v>2017</c:v>
                </c:pt>
                <c:pt idx="38">
                  <c:v>1628</c:v>
                </c:pt>
                <c:pt idx="39">
                  <c:v>2249</c:v>
                </c:pt>
                <c:pt idx="40">
                  <c:v>979</c:v>
                </c:pt>
                <c:pt idx="41">
                  <c:v>542</c:v>
                </c:pt>
                <c:pt idx="42">
                  <c:v>1624</c:v>
                </c:pt>
                <c:pt idx="43">
                  <c:v>2051</c:v>
                </c:pt>
                <c:pt idx="44">
                  <c:v>1787</c:v>
                </c:pt>
                <c:pt idx="45">
                  <c:v>1586</c:v>
                </c:pt>
                <c:pt idx="46">
                  <c:v>1430</c:v>
                </c:pt>
                <c:pt idx="47">
                  <c:v>843</c:v>
                </c:pt>
                <c:pt idx="48">
                  <c:v>440</c:v>
                </c:pt>
                <c:pt idx="49">
                  <c:v>1211</c:v>
                </c:pt>
                <c:pt idx="50">
                  <c:v>1621</c:v>
                </c:pt>
                <c:pt idx="51">
                  <c:v>1320</c:v>
                </c:pt>
                <c:pt idx="52">
                  <c:v>1288</c:v>
                </c:pt>
                <c:pt idx="53">
                  <c:v>1176</c:v>
                </c:pt>
                <c:pt idx="54">
                  <c:v>641</c:v>
                </c:pt>
                <c:pt idx="55">
                  <c:v>326</c:v>
                </c:pt>
                <c:pt idx="56">
                  <c:v>1117</c:v>
                </c:pt>
                <c:pt idx="57">
                  <c:v>1294</c:v>
                </c:pt>
                <c:pt idx="58">
                  <c:v>1193</c:v>
                </c:pt>
                <c:pt idx="59">
                  <c:v>989</c:v>
                </c:pt>
                <c:pt idx="60">
                  <c:v>550</c:v>
                </c:pt>
                <c:pt idx="61">
                  <c:v>377</c:v>
                </c:pt>
                <c:pt idx="62">
                  <c:v>327</c:v>
                </c:pt>
                <c:pt idx="63">
                  <c:v>290</c:v>
                </c:pt>
                <c:pt idx="64">
                  <c:v>816</c:v>
                </c:pt>
                <c:pt idx="65">
                  <c:v>980</c:v>
                </c:pt>
                <c:pt idx="66">
                  <c:v>782</c:v>
                </c:pt>
                <c:pt idx="67">
                  <c:v>716</c:v>
                </c:pt>
                <c:pt idx="68">
                  <c:v>363</c:v>
                </c:pt>
                <c:pt idx="69">
                  <c:v>202</c:v>
                </c:pt>
                <c:pt idx="70">
                  <c:v>578</c:v>
                </c:pt>
                <c:pt idx="71">
                  <c:v>691</c:v>
                </c:pt>
                <c:pt idx="72">
                  <c:v>581</c:v>
                </c:pt>
                <c:pt idx="73">
                  <c:v>468</c:v>
                </c:pt>
                <c:pt idx="74">
                  <c:v>513</c:v>
                </c:pt>
                <c:pt idx="75">
                  <c:v>245</c:v>
                </c:pt>
                <c:pt idx="76">
                  <c:v>144</c:v>
                </c:pt>
                <c:pt idx="77">
                  <c:v>469</c:v>
                </c:pt>
                <c:pt idx="78">
                  <c:v>490</c:v>
                </c:pt>
                <c:pt idx="79">
                  <c:v>412</c:v>
                </c:pt>
                <c:pt idx="80">
                  <c:v>400</c:v>
                </c:pt>
                <c:pt idx="81">
                  <c:v>335</c:v>
                </c:pt>
                <c:pt idx="82">
                  <c:v>156</c:v>
                </c:pt>
                <c:pt idx="83">
                  <c:v>120</c:v>
                </c:pt>
                <c:pt idx="84">
                  <c:v>371</c:v>
                </c:pt>
                <c:pt idx="85">
                  <c:v>384</c:v>
                </c:pt>
                <c:pt idx="86">
                  <c:v>330</c:v>
                </c:pt>
                <c:pt idx="87">
                  <c:v>302</c:v>
                </c:pt>
                <c:pt idx="88">
                  <c:v>304</c:v>
                </c:pt>
                <c:pt idx="89">
                  <c:v>172</c:v>
                </c:pt>
                <c:pt idx="90">
                  <c:v>86</c:v>
                </c:pt>
                <c:pt idx="91">
                  <c:v>299</c:v>
                </c:pt>
                <c:pt idx="92">
                  <c:v>310</c:v>
                </c:pt>
                <c:pt idx="93">
                  <c:v>251</c:v>
                </c:pt>
                <c:pt idx="94">
                  <c:v>223</c:v>
                </c:pt>
                <c:pt idx="95">
                  <c:v>179</c:v>
                </c:pt>
                <c:pt idx="96">
                  <c:v>92</c:v>
                </c:pt>
                <c:pt idx="97">
                  <c:v>56</c:v>
                </c:pt>
                <c:pt idx="98">
                  <c:v>214</c:v>
                </c:pt>
                <c:pt idx="99">
                  <c:v>184</c:v>
                </c:pt>
                <c:pt idx="100">
                  <c:v>133</c:v>
                </c:pt>
                <c:pt idx="101">
                  <c:v>155</c:v>
                </c:pt>
                <c:pt idx="102">
                  <c:v>132</c:v>
                </c:pt>
                <c:pt idx="103">
                  <c:v>70</c:v>
                </c:pt>
                <c:pt idx="104">
                  <c:v>29</c:v>
                </c:pt>
                <c:pt idx="105">
                  <c:v>119</c:v>
                </c:pt>
                <c:pt idx="106">
                  <c:v>139</c:v>
                </c:pt>
                <c:pt idx="107">
                  <c:v>91</c:v>
                </c:pt>
                <c:pt idx="108">
                  <c:v>91</c:v>
                </c:pt>
                <c:pt idx="109">
                  <c:v>76</c:v>
                </c:pt>
                <c:pt idx="110">
                  <c:v>32</c:v>
                </c:pt>
                <c:pt idx="111">
                  <c:v>19</c:v>
                </c:pt>
                <c:pt idx="112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81-46B0-9758-A081EA08D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522</c:v>
                </c:pt>
                <c:pt idx="1">
                  <c:v>627</c:v>
                </c:pt>
                <c:pt idx="2">
                  <c:v>615</c:v>
                </c:pt>
                <c:pt idx="3">
                  <c:v>605</c:v>
                </c:pt>
                <c:pt idx="4">
                  <c:v>608</c:v>
                </c:pt>
                <c:pt idx="5">
                  <c:v>359</c:v>
                </c:pt>
                <c:pt idx="6">
                  <c:v>210</c:v>
                </c:pt>
                <c:pt idx="7">
                  <c:v>455</c:v>
                </c:pt>
                <c:pt idx="8">
                  <c:v>657</c:v>
                </c:pt>
                <c:pt idx="9">
                  <c:v>553</c:v>
                </c:pt>
                <c:pt idx="10">
                  <c:v>580</c:v>
                </c:pt>
                <c:pt idx="11">
                  <c:v>566</c:v>
                </c:pt>
                <c:pt idx="12">
                  <c:v>293</c:v>
                </c:pt>
                <c:pt idx="13">
                  <c:v>208</c:v>
                </c:pt>
                <c:pt idx="14">
                  <c:v>556</c:v>
                </c:pt>
                <c:pt idx="15">
                  <c:v>718</c:v>
                </c:pt>
                <c:pt idx="16">
                  <c:v>601</c:v>
                </c:pt>
                <c:pt idx="17">
                  <c:v>646</c:v>
                </c:pt>
                <c:pt idx="18">
                  <c:v>741</c:v>
                </c:pt>
                <c:pt idx="19">
                  <c:v>378</c:v>
                </c:pt>
                <c:pt idx="20">
                  <c:v>285</c:v>
                </c:pt>
                <c:pt idx="21">
                  <c:v>697</c:v>
                </c:pt>
                <c:pt idx="22">
                  <c:v>847</c:v>
                </c:pt>
                <c:pt idx="23">
                  <c:v>752</c:v>
                </c:pt>
                <c:pt idx="24">
                  <c:v>807</c:v>
                </c:pt>
                <c:pt idx="25">
                  <c:v>810</c:v>
                </c:pt>
                <c:pt idx="26">
                  <c:v>409</c:v>
                </c:pt>
                <c:pt idx="27">
                  <c:v>283</c:v>
                </c:pt>
                <c:pt idx="28">
                  <c:v>773</c:v>
                </c:pt>
                <c:pt idx="29">
                  <c:v>917</c:v>
                </c:pt>
                <c:pt idx="30">
                  <c:v>853</c:v>
                </c:pt>
                <c:pt idx="31">
                  <c:v>747</c:v>
                </c:pt>
                <c:pt idx="32">
                  <c:v>713</c:v>
                </c:pt>
                <c:pt idx="33">
                  <c:v>532</c:v>
                </c:pt>
                <c:pt idx="34">
                  <c:v>294</c:v>
                </c:pt>
                <c:pt idx="35">
                  <c:v>586</c:v>
                </c:pt>
                <c:pt idx="36">
                  <c:v>736</c:v>
                </c:pt>
                <c:pt idx="37">
                  <c:v>752</c:v>
                </c:pt>
                <c:pt idx="38">
                  <c:v>640</c:v>
                </c:pt>
                <c:pt idx="39">
                  <c:v>854</c:v>
                </c:pt>
                <c:pt idx="40">
                  <c:v>372</c:v>
                </c:pt>
                <c:pt idx="41">
                  <c:v>220</c:v>
                </c:pt>
                <c:pt idx="42">
                  <c:v>663</c:v>
                </c:pt>
                <c:pt idx="43">
                  <c:v>766</c:v>
                </c:pt>
                <c:pt idx="44">
                  <c:v>673</c:v>
                </c:pt>
                <c:pt idx="45">
                  <c:v>601</c:v>
                </c:pt>
                <c:pt idx="46">
                  <c:v>526</c:v>
                </c:pt>
                <c:pt idx="47">
                  <c:v>352</c:v>
                </c:pt>
                <c:pt idx="48">
                  <c:v>193</c:v>
                </c:pt>
                <c:pt idx="49">
                  <c:v>462</c:v>
                </c:pt>
                <c:pt idx="50">
                  <c:v>618</c:v>
                </c:pt>
                <c:pt idx="51">
                  <c:v>486</c:v>
                </c:pt>
                <c:pt idx="52">
                  <c:v>482</c:v>
                </c:pt>
                <c:pt idx="53">
                  <c:v>439</c:v>
                </c:pt>
                <c:pt idx="54">
                  <c:v>267</c:v>
                </c:pt>
                <c:pt idx="55">
                  <c:v>132</c:v>
                </c:pt>
                <c:pt idx="56">
                  <c:v>427</c:v>
                </c:pt>
                <c:pt idx="57">
                  <c:v>466</c:v>
                </c:pt>
                <c:pt idx="58">
                  <c:v>430</c:v>
                </c:pt>
                <c:pt idx="59">
                  <c:v>360</c:v>
                </c:pt>
                <c:pt idx="60">
                  <c:v>216</c:v>
                </c:pt>
                <c:pt idx="61">
                  <c:v>151</c:v>
                </c:pt>
                <c:pt idx="62">
                  <c:v>150</c:v>
                </c:pt>
                <c:pt idx="63">
                  <c:v>129</c:v>
                </c:pt>
                <c:pt idx="64">
                  <c:v>305</c:v>
                </c:pt>
                <c:pt idx="65">
                  <c:v>307</c:v>
                </c:pt>
                <c:pt idx="66">
                  <c:v>278</c:v>
                </c:pt>
                <c:pt idx="67">
                  <c:v>274</c:v>
                </c:pt>
                <c:pt idx="68">
                  <c:v>131</c:v>
                </c:pt>
                <c:pt idx="69">
                  <c:v>81</c:v>
                </c:pt>
                <c:pt idx="70">
                  <c:v>215</c:v>
                </c:pt>
                <c:pt idx="71">
                  <c:v>245</c:v>
                </c:pt>
                <c:pt idx="72">
                  <c:v>233</c:v>
                </c:pt>
                <c:pt idx="73">
                  <c:v>195</c:v>
                </c:pt>
                <c:pt idx="74">
                  <c:v>193</c:v>
                </c:pt>
                <c:pt idx="75">
                  <c:v>89</c:v>
                </c:pt>
                <c:pt idx="76">
                  <c:v>64</c:v>
                </c:pt>
                <c:pt idx="77">
                  <c:v>170</c:v>
                </c:pt>
                <c:pt idx="78">
                  <c:v>169</c:v>
                </c:pt>
                <c:pt idx="79">
                  <c:v>145</c:v>
                </c:pt>
                <c:pt idx="80">
                  <c:v>148</c:v>
                </c:pt>
                <c:pt idx="81">
                  <c:v>100</c:v>
                </c:pt>
                <c:pt idx="82">
                  <c:v>53</c:v>
                </c:pt>
                <c:pt idx="83">
                  <c:v>48</c:v>
                </c:pt>
                <c:pt idx="84">
                  <c:v>137</c:v>
                </c:pt>
                <c:pt idx="85">
                  <c:v>145</c:v>
                </c:pt>
                <c:pt idx="86">
                  <c:v>108</c:v>
                </c:pt>
                <c:pt idx="87">
                  <c:v>91</c:v>
                </c:pt>
                <c:pt idx="88">
                  <c:v>101</c:v>
                </c:pt>
                <c:pt idx="89">
                  <c:v>65</c:v>
                </c:pt>
                <c:pt idx="90">
                  <c:v>38</c:v>
                </c:pt>
                <c:pt idx="91">
                  <c:v>88</c:v>
                </c:pt>
                <c:pt idx="92">
                  <c:v>93</c:v>
                </c:pt>
                <c:pt idx="93">
                  <c:v>84</c:v>
                </c:pt>
                <c:pt idx="94">
                  <c:v>79</c:v>
                </c:pt>
                <c:pt idx="95">
                  <c:v>59</c:v>
                </c:pt>
                <c:pt idx="96">
                  <c:v>32</c:v>
                </c:pt>
                <c:pt idx="97">
                  <c:v>22</c:v>
                </c:pt>
                <c:pt idx="98">
                  <c:v>84</c:v>
                </c:pt>
                <c:pt idx="99">
                  <c:v>58</c:v>
                </c:pt>
                <c:pt idx="100">
                  <c:v>38</c:v>
                </c:pt>
                <c:pt idx="101">
                  <c:v>50</c:v>
                </c:pt>
                <c:pt idx="102">
                  <c:v>45</c:v>
                </c:pt>
                <c:pt idx="103">
                  <c:v>25</c:v>
                </c:pt>
                <c:pt idx="104">
                  <c:v>11</c:v>
                </c:pt>
                <c:pt idx="105">
                  <c:v>47</c:v>
                </c:pt>
                <c:pt idx="106">
                  <c:v>53</c:v>
                </c:pt>
                <c:pt idx="107">
                  <c:v>45</c:v>
                </c:pt>
                <c:pt idx="108">
                  <c:v>43</c:v>
                </c:pt>
                <c:pt idx="109">
                  <c:v>30</c:v>
                </c:pt>
                <c:pt idx="110">
                  <c:v>16</c:v>
                </c:pt>
                <c:pt idx="111">
                  <c:v>9</c:v>
                </c:pt>
                <c:pt idx="112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09-4F39-ACB3-567A4C1B64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4</c:v>
                </c:pt>
                <c:pt idx="1">
                  <c:v>6366</c:v>
                </c:pt>
                <c:pt idx="2">
                  <c:v>6218</c:v>
                </c:pt>
                <c:pt idx="3">
                  <c:v>6314</c:v>
                </c:pt>
                <c:pt idx="4">
                  <c:v>6381</c:v>
                </c:pt>
                <c:pt idx="5">
                  <c:v>7055</c:v>
                </c:pt>
                <c:pt idx="6">
                  <c:v>6698</c:v>
                </c:pt>
                <c:pt idx="7">
                  <c:v>6224</c:v>
                </c:pt>
                <c:pt idx="8">
                  <c:v>5906</c:v>
                </c:pt>
                <c:pt idx="9">
                  <c:v>5267</c:v>
                </c:pt>
                <c:pt idx="10">
                  <c:v>5221</c:v>
                </c:pt>
                <c:pt idx="11">
                  <c:v>5515</c:v>
                </c:pt>
                <c:pt idx="12">
                  <c:v>5209</c:v>
                </c:pt>
                <c:pt idx="13">
                  <c:v>4907</c:v>
                </c:pt>
                <c:pt idx="14">
                  <c:v>4649</c:v>
                </c:pt>
                <c:pt idx="15">
                  <c:v>4403</c:v>
                </c:pt>
                <c:pt idx="16">
                  <c:v>4007</c:v>
                </c:pt>
                <c:pt idx="17">
                  <c:v>4015</c:v>
                </c:pt>
                <c:pt idx="18">
                  <c:v>4287</c:v>
                </c:pt>
                <c:pt idx="19">
                  <c:v>4120</c:v>
                </c:pt>
                <c:pt idx="20">
                  <c:v>3960</c:v>
                </c:pt>
                <c:pt idx="21">
                  <c:v>3723</c:v>
                </c:pt>
                <c:pt idx="22">
                  <c:v>3511</c:v>
                </c:pt>
                <c:pt idx="23">
                  <c:v>3164</c:v>
                </c:pt>
                <c:pt idx="24">
                  <c:v>3158</c:v>
                </c:pt>
                <c:pt idx="25">
                  <c:v>3309</c:v>
                </c:pt>
                <c:pt idx="26">
                  <c:v>3139</c:v>
                </c:pt>
                <c:pt idx="27">
                  <c:v>2990</c:v>
                </c:pt>
                <c:pt idx="28">
                  <c:v>2823</c:v>
                </c:pt>
                <c:pt idx="29">
                  <c:v>2663</c:v>
                </c:pt>
                <c:pt idx="30">
                  <c:v>2454</c:v>
                </c:pt>
                <c:pt idx="31">
                  <c:v>2481</c:v>
                </c:pt>
                <c:pt idx="32">
                  <c:v>2672</c:v>
                </c:pt>
                <c:pt idx="33">
                  <c:v>2519</c:v>
                </c:pt>
                <c:pt idx="34">
                  <c:v>2344</c:v>
                </c:pt>
                <c:pt idx="35">
                  <c:v>2209</c:v>
                </c:pt>
                <c:pt idx="36">
                  <c:v>2114</c:v>
                </c:pt>
                <c:pt idx="37">
                  <c:v>1875</c:v>
                </c:pt>
                <c:pt idx="38">
                  <c:v>1855</c:v>
                </c:pt>
                <c:pt idx="39">
                  <c:v>1970</c:v>
                </c:pt>
                <c:pt idx="40">
                  <c:v>1817</c:v>
                </c:pt>
                <c:pt idx="41">
                  <c:v>1704</c:v>
                </c:pt>
                <c:pt idx="42">
                  <c:v>1608</c:v>
                </c:pt>
                <c:pt idx="43">
                  <c:v>1520</c:v>
                </c:pt>
                <c:pt idx="44">
                  <c:v>1323</c:v>
                </c:pt>
                <c:pt idx="45">
                  <c:v>1310</c:v>
                </c:pt>
                <c:pt idx="46">
                  <c:v>1385</c:v>
                </c:pt>
                <c:pt idx="47">
                  <c:v>1238</c:v>
                </c:pt>
                <c:pt idx="48">
                  <c:v>1130</c:v>
                </c:pt>
                <c:pt idx="49">
                  <c:v>1037</c:v>
                </c:pt>
                <c:pt idx="50">
                  <c:v>979</c:v>
                </c:pt>
                <c:pt idx="51">
                  <c:v>817</c:v>
                </c:pt>
                <c:pt idx="52">
                  <c:v>798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3</c:v>
                </c:pt>
                <c:pt idx="1">
                  <c:v>1422</c:v>
                </c:pt>
                <c:pt idx="2">
                  <c:v>1399</c:v>
                </c:pt>
                <c:pt idx="3">
                  <c:v>1378</c:v>
                </c:pt>
                <c:pt idx="4">
                  <c:v>1343</c:v>
                </c:pt>
                <c:pt idx="5">
                  <c:v>1393</c:v>
                </c:pt>
                <c:pt idx="6">
                  <c:v>1359</c:v>
                </c:pt>
                <c:pt idx="7">
                  <c:v>1313</c:v>
                </c:pt>
                <c:pt idx="8">
                  <c:v>1233</c:v>
                </c:pt>
                <c:pt idx="9">
                  <c:v>1214</c:v>
                </c:pt>
                <c:pt idx="10">
                  <c:v>1196</c:v>
                </c:pt>
                <c:pt idx="11">
                  <c:v>1183</c:v>
                </c:pt>
                <c:pt idx="12">
                  <c:v>1155</c:v>
                </c:pt>
                <c:pt idx="13">
                  <c:v>1111</c:v>
                </c:pt>
                <c:pt idx="14">
                  <c:v>1034</c:v>
                </c:pt>
                <c:pt idx="15">
                  <c:v>1011</c:v>
                </c:pt>
                <c:pt idx="16">
                  <c:v>971</c:v>
                </c:pt>
                <c:pt idx="17">
                  <c:v>973</c:v>
                </c:pt>
                <c:pt idx="18">
                  <c:v>992</c:v>
                </c:pt>
                <c:pt idx="19">
                  <c:v>940</c:v>
                </c:pt>
                <c:pt idx="20">
                  <c:v>905</c:v>
                </c:pt>
                <c:pt idx="21">
                  <c:v>830</c:v>
                </c:pt>
                <c:pt idx="22">
                  <c:v>785</c:v>
                </c:pt>
                <c:pt idx="23">
                  <c:v>749</c:v>
                </c:pt>
                <c:pt idx="24">
                  <c:v>757</c:v>
                </c:pt>
                <c:pt idx="25">
                  <c:v>735</c:v>
                </c:pt>
                <c:pt idx="26">
                  <c:v>710</c:v>
                </c:pt>
                <c:pt idx="27">
                  <c:v>683</c:v>
                </c:pt>
                <c:pt idx="28">
                  <c:v>634</c:v>
                </c:pt>
                <c:pt idx="29">
                  <c:v>576</c:v>
                </c:pt>
                <c:pt idx="30">
                  <c:v>552</c:v>
                </c:pt>
                <c:pt idx="31">
                  <c:v>558</c:v>
                </c:pt>
                <c:pt idx="32">
                  <c:v>564</c:v>
                </c:pt>
                <c:pt idx="33">
                  <c:v>543</c:v>
                </c:pt>
                <c:pt idx="34">
                  <c:v>500</c:v>
                </c:pt>
                <c:pt idx="35">
                  <c:v>464</c:v>
                </c:pt>
                <c:pt idx="36">
                  <c:v>442</c:v>
                </c:pt>
                <c:pt idx="37">
                  <c:v>414</c:v>
                </c:pt>
                <c:pt idx="38">
                  <c:v>420</c:v>
                </c:pt>
                <c:pt idx="39">
                  <c:v>425</c:v>
                </c:pt>
                <c:pt idx="40">
                  <c:v>401</c:v>
                </c:pt>
                <c:pt idx="41">
                  <c:v>376</c:v>
                </c:pt>
                <c:pt idx="42">
                  <c:v>366</c:v>
                </c:pt>
                <c:pt idx="43">
                  <c:v>339</c:v>
                </c:pt>
                <c:pt idx="44">
                  <c:v>306</c:v>
                </c:pt>
                <c:pt idx="45">
                  <c:v>301</c:v>
                </c:pt>
                <c:pt idx="46">
                  <c:v>292</c:v>
                </c:pt>
                <c:pt idx="47">
                  <c:v>273</c:v>
                </c:pt>
                <c:pt idx="48">
                  <c:v>244</c:v>
                </c:pt>
                <c:pt idx="49">
                  <c:v>214</c:v>
                </c:pt>
                <c:pt idx="50">
                  <c:v>181</c:v>
                </c:pt>
                <c:pt idx="51">
                  <c:v>178</c:v>
                </c:pt>
                <c:pt idx="52">
                  <c:v>177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2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6310</c:v>
                </c:pt>
                <c:pt idx="1">
                  <c:v>6342</c:v>
                </c:pt>
                <c:pt idx="2">
                  <c:v>6428</c:v>
                </c:pt>
                <c:pt idx="3">
                  <c:v>6526</c:v>
                </c:pt>
                <c:pt idx="4">
                  <c:v>6545</c:v>
                </c:pt>
                <c:pt idx="5">
                  <c:v>6148</c:v>
                </c:pt>
                <c:pt idx="6">
                  <c:v>6355</c:v>
                </c:pt>
                <c:pt idx="7">
                  <c:v>7048</c:v>
                </c:pt>
                <c:pt idx="8">
                  <c:v>7077</c:v>
                </c:pt>
                <c:pt idx="9">
                  <c:v>7169</c:v>
                </c:pt>
                <c:pt idx="10">
                  <c:v>7386</c:v>
                </c:pt>
                <c:pt idx="11">
                  <c:v>7485</c:v>
                </c:pt>
                <c:pt idx="12">
                  <c:v>7187</c:v>
                </c:pt>
                <c:pt idx="13">
                  <c:v>7450</c:v>
                </c:pt>
                <c:pt idx="14">
                  <c:v>8255</c:v>
                </c:pt>
                <c:pt idx="15">
                  <c:v>8435</c:v>
                </c:pt>
                <c:pt idx="16">
                  <c:v>8379</c:v>
                </c:pt>
                <c:pt idx="17">
                  <c:v>8382</c:v>
                </c:pt>
                <c:pt idx="18">
                  <c:v>8449</c:v>
                </c:pt>
                <c:pt idx="19">
                  <c:v>8106</c:v>
                </c:pt>
                <c:pt idx="20">
                  <c:v>8329</c:v>
                </c:pt>
                <c:pt idx="21">
                  <c:v>9002</c:v>
                </c:pt>
                <c:pt idx="22">
                  <c:v>8973</c:v>
                </c:pt>
                <c:pt idx="23">
                  <c:v>8994</c:v>
                </c:pt>
                <c:pt idx="24">
                  <c:v>8961</c:v>
                </c:pt>
                <c:pt idx="25">
                  <c:v>8925</c:v>
                </c:pt>
                <c:pt idx="26">
                  <c:v>8529</c:v>
                </c:pt>
                <c:pt idx="27">
                  <c:v>8742</c:v>
                </c:pt>
                <c:pt idx="28">
                  <c:v>9459</c:v>
                </c:pt>
                <c:pt idx="29">
                  <c:v>9329</c:v>
                </c:pt>
                <c:pt idx="30">
                  <c:v>9157</c:v>
                </c:pt>
                <c:pt idx="31">
                  <c:v>8952</c:v>
                </c:pt>
                <c:pt idx="32">
                  <c:v>8763</c:v>
                </c:pt>
                <c:pt idx="33">
                  <c:v>8203</c:v>
                </c:pt>
                <c:pt idx="34">
                  <c:v>8316</c:v>
                </c:pt>
                <c:pt idx="35">
                  <c:v>8953</c:v>
                </c:pt>
                <c:pt idx="36">
                  <c:v>8617</c:v>
                </c:pt>
                <c:pt idx="37">
                  <c:v>8301</c:v>
                </c:pt>
                <c:pt idx="38">
                  <c:v>8143</c:v>
                </c:pt>
                <c:pt idx="39">
                  <c:v>8017</c:v>
                </c:pt>
                <c:pt idx="40">
                  <c:v>7498</c:v>
                </c:pt>
                <c:pt idx="41">
                  <c:v>7548</c:v>
                </c:pt>
                <c:pt idx="42">
                  <c:v>8088</c:v>
                </c:pt>
                <c:pt idx="43">
                  <c:v>7819</c:v>
                </c:pt>
                <c:pt idx="44">
                  <c:v>7505</c:v>
                </c:pt>
                <c:pt idx="45">
                  <c:v>7194</c:v>
                </c:pt>
                <c:pt idx="46">
                  <c:v>6366</c:v>
                </c:pt>
                <c:pt idx="47">
                  <c:v>6218</c:v>
                </c:pt>
                <c:pt idx="48">
                  <c:v>6314</c:v>
                </c:pt>
                <c:pt idx="49">
                  <c:v>6381</c:v>
                </c:pt>
                <c:pt idx="50">
                  <c:v>7055</c:v>
                </c:pt>
                <c:pt idx="51">
                  <c:v>6698</c:v>
                </c:pt>
                <c:pt idx="52">
                  <c:v>6224</c:v>
                </c:pt>
                <c:pt idx="53">
                  <c:v>5907</c:v>
                </c:pt>
                <c:pt idx="54">
                  <c:v>5268</c:v>
                </c:pt>
                <c:pt idx="55">
                  <c:v>5222</c:v>
                </c:pt>
                <c:pt idx="56">
                  <c:v>5516</c:v>
                </c:pt>
                <c:pt idx="57">
                  <c:v>5210</c:v>
                </c:pt>
                <c:pt idx="58">
                  <c:v>4908</c:v>
                </c:pt>
                <c:pt idx="59">
                  <c:v>4649</c:v>
                </c:pt>
                <c:pt idx="60">
                  <c:v>4404</c:v>
                </c:pt>
                <c:pt idx="61">
                  <c:v>4008</c:v>
                </c:pt>
                <c:pt idx="62">
                  <c:v>4016</c:v>
                </c:pt>
                <c:pt idx="63">
                  <c:v>4289</c:v>
                </c:pt>
                <c:pt idx="64">
                  <c:v>4122</c:v>
                </c:pt>
                <c:pt idx="65">
                  <c:v>3962</c:v>
                </c:pt>
                <c:pt idx="66">
                  <c:v>3725</c:v>
                </c:pt>
                <c:pt idx="67">
                  <c:v>3512</c:v>
                </c:pt>
                <c:pt idx="68">
                  <c:v>3165</c:v>
                </c:pt>
                <c:pt idx="69">
                  <c:v>3160</c:v>
                </c:pt>
                <c:pt idx="70">
                  <c:v>3312</c:v>
                </c:pt>
                <c:pt idx="71">
                  <c:v>3142</c:v>
                </c:pt>
                <c:pt idx="72">
                  <c:v>2993</c:v>
                </c:pt>
                <c:pt idx="73">
                  <c:v>2827</c:v>
                </c:pt>
                <c:pt idx="74">
                  <c:v>2668</c:v>
                </c:pt>
                <c:pt idx="75">
                  <c:v>2461</c:v>
                </c:pt>
                <c:pt idx="76">
                  <c:v>2488</c:v>
                </c:pt>
                <c:pt idx="77">
                  <c:v>2680</c:v>
                </c:pt>
                <c:pt idx="78">
                  <c:v>2527</c:v>
                </c:pt>
                <c:pt idx="79">
                  <c:v>2351</c:v>
                </c:pt>
                <c:pt idx="80">
                  <c:v>2216</c:v>
                </c:pt>
                <c:pt idx="81">
                  <c:v>2120</c:v>
                </c:pt>
                <c:pt idx="82">
                  <c:v>1880</c:v>
                </c:pt>
                <c:pt idx="83">
                  <c:v>1860</c:v>
                </c:pt>
                <c:pt idx="84">
                  <c:v>1975</c:v>
                </c:pt>
                <c:pt idx="85">
                  <c:v>1823</c:v>
                </c:pt>
                <c:pt idx="86">
                  <c:v>1711</c:v>
                </c:pt>
                <c:pt idx="87">
                  <c:v>1613</c:v>
                </c:pt>
                <c:pt idx="88">
                  <c:v>1525</c:v>
                </c:pt>
                <c:pt idx="89">
                  <c:v>1326</c:v>
                </c:pt>
                <c:pt idx="90">
                  <c:v>1313</c:v>
                </c:pt>
                <c:pt idx="91">
                  <c:v>1388</c:v>
                </c:pt>
                <c:pt idx="92">
                  <c:v>1244</c:v>
                </c:pt>
                <c:pt idx="93">
                  <c:v>1137</c:v>
                </c:pt>
                <c:pt idx="94">
                  <c:v>1035</c:v>
                </c:pt>
                <c:pt idx="95">
                  <c:v>963</c:v>
                </c:pt>
                <c:pt idx="96">
                  <c:v>844</c:v>
                </c:pt>
                <c:pt idx="97">
                  <c:v>8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4.8445940020772</c:v>
                </c:pt>
                <c:pt idx="93">
                  <c:v>1126.9020756297914</c:v>
                </c:pt>
                <c:pt idx="94">
                  <c:v>1061.4887565356221</c:v>
                </c:pt>
                <c:pt idx="95">
                  <c:v>998.54723762312346</c:v>
                </c:pt>
                <c:pt idx="96">
                  <c:v>938.01185347435558</c:v>
                </c:pt>
                <c:pt idx="97">
                  <c:v>879.81136777563142</c:v>
                </c:pt>
                <c:pt idx="98">
                  <c:v>823.87020763276382</c:v>
                </c:pt>
                <c:pt idx="99">
                  <c:v>770.1102602391843</c:v>
                </c:pt>
                <c:pt idx="100">
                  <c:v>718.45287817928659</c:v>
                </c:pt>
                <c:pt idx="101">
                  <c:v>668.82335706730464</c:v>
                </c:pt>
                <c:pt idx="102">
                  <c:v>621.15054756613438</c:v>
                </c:pt>
                <c:pt idx="103">
                  <c:v>575.36663353554422</c:v>
                </c:pt>
                <c:pt idx="104">
                  <c:v>531.40707518999216</c:v>
                </c:pt>
                <c:pt idx="105">
                  <c:v>489.21179959943834</c:v>
                </c:pt>
                <c:pt idx="106">
                  <c:v>448.73557110813027</c:v>
                </c:pt>
                <c:pt idx="107">
                  <c:v>409.94320855181218</c:v>
                </c:pt>
                <c:pt idx="108">
                  <c:v>372.80457180829762</c:v>
                </c:pt>
                <c:pt idx="109">
                  <c:v>337.29123101039568</c:v>
                </c:pt>
                <c:pt idx="110">
                  <c:v>303.37533988109658</c:v>
                </c:pt>
                <c:pt idx="111">
                  <c:v>271.02788462357773</c:v>
                </c:pt>
                <c:pt idx="112">
                  <c:v>240.21863950742392</c:v>
                </c:pt>
                <c:pt idx="113">
                  <c:v>210.91532747268496</c:v>
                </c:pt>
                <c:pt idx="114">
                  <c:v>183.08151974925701</c:v>
                </c:pt>
                <c:pt idx="115">
                  <c:v>156.67710889134267</c:v>
                </c:pt>
                <c:pt idx="116">
                  <c:v>139.65866000480099</c:v>
                </c:pt>
                <c:pt idx="117">
                  <c:v>121.04752884732443</c:v>
                </c:pt>
                <c:pt idx="118">
                  <c:v>113.75244351802394</c:v>
                </c:pt>
                <c:pt idx="119">
                  <c:v>106.90964812700986</c:v>
                </c:pt>
                <c:pt idx="120">
                  <c:v>100.4883565781347</c:v>
                </c:pt>
                <c:pt idx="121">
                  <c:v>94.45893198630074</c:v>
                </c:pt>
                <c:pt idx="122">
                  <c:v>88.793044817080954</c:v>
                </c:pt>
                <c:pt idx="123">
                  <c:v>83.463953660539119</c:v>
                </c:pt>
                <c:pt idx="124">
                  <c:v>78.44674891649629</c:v>
                </c:pt>
                <c:pt idx="125">
                  <c:v>73.718549212266225</c:v>
                </c:pt>
                <c:pt idx="126">
                  <c:v>69.258613415935542</c:v>
                </c:pt>
                <c:pt idx="127">
                  <c:v>65.048309660283849</c:v>
                </c:pt>
                <c:pt idx="128">
                  <c:v>61.07097058344516</c:v>
                </c:pt>
                <c:pt idx="129">
                  <c:v>57.311704650637694</c:v>
                </c:pt>
                <c:pt idx="130">
                  <c:v>53.757191449170932</c:v>
                </c:pt>
                <c:pt idx="131">
                  <c:v>50.395474322809605</c:v>
                </c:pt>
                <c:pt idx="132">
                  <c:v>47.215774430776946</c:v>
                </c:pt>
                <c:pt idx="133">
                  <c:v>44.208320643607294</c:v>
                </c:pt>
                <c:pt idx="134">
                  <c:v>41.364203246543184</c:v>
                </c:pt>
                <c:pt idx="135">
                  <c:v>38.675244257610757</c:v>
                </c:pt>
                <c:pt idx="136">
                  <c:v>36.133891421050066</c:v>
                </c:pt>
                <c:pt idx="137">
                  <c:v>33.733125280676177</c:v>
                </c:pt>
                <c:pt idx="138">
                  <c:v>31.466377897333587</c:v>
                </c:pt>
                <c:pt idx="139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4"/>
          <c:order val="1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2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169</c:v>
                </c:pt>
                <c:pt idx="1">
                  <c:v>1212</c:v>
                </c:pt>
                <c:pt idx="2">
                  <c:v>1240</c:v>
                </c:pt>
                <c:pt idx="3">
                  <c:v>1266</c:v>
                </c:pt>
                <c:pt idx="4">
                  <c:v>1269</c:v>
                </c:pt>
                <c:pt idx="5">
                  <c:v>1267</c:v>
                </c:pt>
                <c:pt idx="6">
                  <c:v>1281</c:v>
                </c:pt>
                <c:pt idx="7">
                  <c:v>1360</c:v>
                </c:pt>
                <c:pt idx="8">
                  <c:v>1389</c:v>
                </c:pt>
                <c:pt idx="9">
                  <c:v>1408</c:v>
                </c:pt>
                <c:pt idx="10">
                  <c:v>1463</c:v>
                </c:pt>
                <c:pt idx="11">
                  <c:v>1439</c:v>
                </c:pt>
                <c:pt idx="12">
                  <c:v>1466</c:v>
                </c:pt>
                <c:pt idx="13">
                  <c:v>1502</c:v>
                </c:pt>
                <c:pt idx="14">
                  <c:v>1585</c:v>
                </c:pt>
                <c:pt idx="15">
                  <c:v>1596</c:v>
                </c:pt>
                <c:pt idx="16">
                  <c:v>1623</c:v>
                </c:pt>
                <c:pt idx="17">
                  <c:v>1650</c:v>
                </c:pt>
                <c:pt idx="18">
                  <c:v>1670</c:v>
                </c:pt>
                <c:pt idx="19">
                  <c:v>1671</c:v>
                </c:pt>
                <c:pt idx="20">
                  <c:v>1675</c:v>
                </c:pt>
                <c:pt idx="21">
                  <c:v>1769</c:v>
                </c:pt>
                <c:pt idx="22">
                  <c:v>1797</c:v>
                </c:pt>
                <c:pt idx="23">
                  <c:v>1826</c:v>
                </c:pt>
                <c:pt idx="24">
                  <c:v>1816</c:v>
                </c:pt>
                <c:pt idx="25">
                  <c:v>1828</c:v>
                </c:pt>
                <c:pt idx="26">
                  <c:v>1778</c:v>
                </c:pt>
                <c:pt idx="27">
                  <c:v>1825</c:v>
                </c:pt>
                <c:pt idx="28">
                  <c:v>1883</c:v>
                </c:pt>
                <c:pt idx="29">
                  <c:v>1892</c:v>
                </c:pt>
                <c:pt idx="30">
                  <c:v>1859</c:v>
                </c:pt>
                <c:pt idx="31">
                  <c:v>1858</c:v>
                </c:pt>
                <c:pt idx="32">
                  <c:v>1817</c:v>
                </c:pt>
                <c:pt idx="33">
                  <c:v>1778</c:v>
                </c:pt>
                <c:pt idx="34">
                  <c:v>1802</c:v>
                </c:pt>
                <c:pt idx="35">
                  <c:v>1822</c:v>
                </c:pt>
                <c:pt idx="36">
                  <c:v>1775</c:v>
                </c:pt>
                <c:pt idx="37">
                  <c:v>1743</c:v>
                </c:pt>
                <c:pt idx="38">
                  <c:v>1741</c:v>
                </c:pt>
                <c:pt idx="39">
                  <c:v>1677</c:v>
                </c:pt>
                <c:pt idx="40">
                  <c:v>1641</c:v>
                </c:pt>
                <c:pt idx="41">
                  <c:v>1651</c:v>
                </c:pt>
                <c:pt idx="42">
                  <c:v>1661</c:v>
                </c:pt>
                <c:pt idx="43">
                  <c:v>1612</c:v>
                </c:pt>
                <c:pt idx="44">
                  <c:v>1552</c:v>
                </c:pt>
                <c:pt idx="45">
                  <c:v>1503</c:v>
                </c:pt>
                <c:pt idx="46">
                  <c:v>1422</c:v>
                </c:pt>
                <c:pt idx="47">
                  <c:v>1399</c:v>
                </c:pt>
                <c:pt idx="48">
                  <c:v>1378</c:v>
                </c:pt>
                <c:pt idx="49">
                  <c:v>1343</c:v>
                </c:pt>
                <c:pt idx="50">
                  <c:v>1393</c:v>
                </c:pt>
                <c:pt idx="51">
                  <c:v>1359</c:v>
                </c:pt>
                <c:pt idx="52">
                  <c:v>1313</c:v>
                </c:pt>
                <c:pt idx="53">
                  <c:v>1234</c:v>
                </c:pt>
                <c:pt idx="54">
                  <c:v>1215</c:v>
                </c:pt>
                <c:pt idx="55">
                  <c:v>1197</c:v>
                </c:pt>
                <c:pt idx="56">
                  <c:v>1184</c:v>
                </c:pt>
                <c:pt idx="57">
                  <c:v>1156</c:v>
                </c:pt>
                <c:pt idx="58">
                  <c:v>1112</c:v>
                </c:pt>
                <c:pt idx="59">
                  <c:v>1034</c:v>
                </c:pt>
                <c:pt idx="60">
                  <c:v>1012</c:v>
                </c:pt>
                <c:pt idx="61">
                  <c:v>972</c:v>
                </c:pt>
                <c:pt idx="62">
                  <c:v>974</c:v>
                </c:pt>
                <c:pt idx="63">
                  <c:v>994</c:v>
                </c:pt>
                <c:pt idx="64">
                  <c:v>942</c:v>
                </c:pt>
                <c:pt idx="65">
                  <c:v>907</c:v>
                </c:pt>
                <c:pt idx="66">
                  <c:v>832</c:v>
                </c:pt>
                <c:pt idx="67">
                  <c:v>786</c:v>
                </c:pt>
                <c:pt idx="68">
                  <c:v>750</c:v>
                </c:pt>
                <c:pt idx="69">
                  <c:v>758</c:v>
                </c:pt>
                <c:pt idx="70">
                  <c:v>736</c:v>
                </c:pt>
                <c:pt idx="71">
                  <c:v>711</c:v>
                </c:pt>
                <c:pt idx="72">
                  <c:v>684</c:v>
                </c:pt>
                <c:pt idx="73">
                  <c:v>635</c:v>
                </c:pt>
                <c:pt idx="74">
                  <c:v>577</c:v>
                </c:pt>
                <c:pt idx="75">
                  <c:v>553</c:v>
                </c:pt>
                <c:pt idx="76">
                  <c:v>559</c:v>
                </c:pt>
                <c:pt idx="77">
                  <c:v>565</c:v>
                </c:pt>
                <c:pt idx="78">
                  <c:v>546</c:v>
                </c:pt>
                <c:pt idx="79">
                  <c:v>503</c:v>
                </c:pt>
                <c:pt idx="80">
                  <c:v>467</c:v>
                </c:pt>
                <c:pt idx="81">
                  <c:v>444</c:v>
                </c:pt>
                <c:pt idx="82">
                  <c:v>415</c:v>
                </c:pt>
                <c:pt idx="83">
                  <c:v>421</c:v>
                </c:pt>
                <c:pt idx="84">
                  <c:v>426</c:v>
                </c:pt>
                <c:pt idx="85">
                  <c:v>402</c:v>
                </c:pt>
                <c:pt idx="86">
                  <c:v>377</c:v>
                </c:pt>
                <c:pt idx="87">
                  <c:v>367</c:v>
                </c:pt>
                <c:pt idx="88">
                  <c:v>339</c:v>
                </c:pt>
                <c:pt idx="89">
                  <c:v>306</c:v>
                </c:pt>
                <c:pt idx="90">
                  <c:v>301</c:v>
                </c:pt>
                <c:pt idx="91">
                  <c:v>292</c:v>
                </c:pt>
                <c:pt idx="92">
                  <c:v>274</c:v>
                </c:pt>
                <c:pt idx="93">
                  <c:v>245</c:v>
                </c:pt>
                <c:pt idx="94">
                  <c:v>209</c:v>
                </c:pt>
                <c:pt idx="95">
                  <c:v>174</c:v>
                </c:pt>
                <c:pt idx="96">
                  <c:v>172</c:v>
                </c:pt>
                <c:pt idx="97">
                  <c:v>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09904699533365</c:v>
                </c:pt>
                <c:pt idx="93">
                  <c:v>253.50919820612387</c:v>
                </c:pt>
                <c:pt idx="94">
                  <c:v>238.26506366803059</c:v>
                </c:pt>
                <c:pt idx="95">
                  <c:v>223.84720689669749</c:v>
                </c:pt>
                <c:pt idx="96">
                  <c:v>210.45474675055766</c:v>
                </c:pt>
                <c:pt idx="97">
                  <c:v>197.56229786075949</c:v>
                </c:pt>
                <c:pt idx="98">
                  <c:v>184.88330054629225</c:v>
                </c:pt>
                <c:pt idx="99">
                  <c:v>173.0336194003512</c:v>
                </c:pt>
                <c:pt idx="100">
                  <c:v>161.41383267135095</c:v>
                </c:pt>
                <c:pt idx="101">
                  <c:v>149.54709542682937</c:v>
                </c:pt>
                <c:pt idx="102">
                  <c:v>138.42642850124838</c:v>
                </c:pt>
                <c:pt idx="103">
                  <c:v>127.91109823770958</c:v>
                </c:pt>
                <c:pt idx="104">
                  <c:v>117.66721012126079</c:v>
                </c:pt>
                <c:pt idx="105">
                  <c:v>107.53744634859336</c:v>
                </c:pt>
                <c:pt idx="106">
                  <c:v>98.347413158346498</c:v>
                </c:pt>
                <c:pt idx="107">
                  <c:v>89.636833530521102</c:v>
                </c:pt>
                <c:pt idx="108">
                  <c:v>80.476026490278628</c:v>
                </c:pt>
                <c:pt idx="109">
                  <c:v>72.809885109695273</c:v>
                </c:pt>
                <c:pt idx="110">
                  <c:v>65.488579633950224</c:v>
                </c:pt>
                <c:pt idx="111">
                  <c:v>58.505846955618701</c:v>
                </c:pt>
                <c:pt idx="112">
                  <c:v>51.8551623513858</c:v>
                </c:pt>
                <c:pt idx="113">
                  <c:v>45.5295582845634</c:v>
                </c:pt>
                <c:pt idx="114">
                  <c:v>39.521171003230023</c:v>
                </c:pt>
                <c:pt idx="115">
                  <c:v>33.821342652534838</c:v>
                </c:pt>
                <c:pt idx="116">
                  <c:v>29.4206970929242</c:v>
                </c:pt>
                <c:pt idx="117">
                  <c:v>26.130109110113732</c:v>
                </c:pt>
                <c:pt idx="118">
                  <c:v>24.555344408699302</c:v>
                </c:pt>
                <c:pt idx="119">
                  <c:v>23.078213963426826</c:v>
                </c:pt>
                <c:pt idx="120">
                  <c:v>21.692072086779437</c:v>
                </c:pt>
                <c:pt idx="121">
                  <c:v>20.390521167433207</c:v>
                </c:pt>
                <c:pt idx="122">
                  <c:v>19.167445807307185</c:v>
                </c:pt>
                <c:pt idx="123">
                  <c:v>18.017073431231552</c:v>
                </c:pt>
                <c:pt idx="124">
                  <c:v>16.934026890438684</c:v>
                </c:pt>
                <c:pt idx="125">
                  <c:v>15.913366862576664</c:v>
                </c:pt>
                <c:pt idx="126">
                  <c:v>14.950616031626522</c:v>
                </c:pt>
                <c:pt idx="127">
                  <c:v>14.041752401203619</c:v>
                </c:pt>
                <c:pt idx="128">
                  <c:v>13.183178045862608</c:v>
                </c:pt>
                <c:pt idx="129">
                  <c:v>12.371678381775382</c:v>
                </c:pt>
                <c:pt idx="130">
                  <c:v>11.604377977776105</c:v>
                </c:pt>
                <c:pt idx="131">
                  <c:v>10.87869579206248</c:v>
                </c:pt>
                <c:pt idx="132">
                  <c:v>10.192305033759391</c:v>
                </c:pt>
                <c:pt idx="133">
                  <c:v>9.5430964431281335</c:v>
                </c:pt>
                <c:pt idx="134">
                  <c:v>8.9291467110275065</c:v>
                </c:pt>
                <c:pt idx="135">
                  <c:v>8.3486904849276993</c:v>
                </c:pt>
                <c:pt idx="136">
                  <c:v>7.8000974856407446</c:v>
                </c:pt>
                <c:pt idx="137">
                  <c:v>7.281852447570123</c:v>
                </c:pt>
                <c:pt idx="138">
                  <c:v>6.7925375725303105</c:v>
                </c:pt>
                <c:pt idx="139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4"/>
          <c:order val="1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5080423695567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840290381125227E-2</c:v>
                </c:pt>
                <c:pt idx="1">
                  <c:v>7.7108433734939766E-2</c:v>
                </c:pt>
                <c:pt idx="2">
                  <c:v>9.1096596768649021E-2</c:v>
                </c:pt>
                <c:pt idx="3">
                  <c:v>7.7447833065810601E-2</c:v>
                </c:pt>
                <c:pt idx="4">
                  <c:v>0.13078291814946619</c:v>
                </c:pt>
                <c:pt idx="5">
                  <c:v>6.8131868131868126E-2</c:v>
                </c:pt>
                <c:pt idx="6">
                  <c:v>9.5665171898355758E-2</c:v>
                </c:pt>
                <c:pt idx="7">
                  <c:v>9.853008727606799E-2</c:v>
                </c:pt>
                <c:pt idx="8">
                  <c:v>0.11455047318611987</c:v>
                </c:pt>
                <c:pt idx="9">
                  <c:v>8.681135225375626E-2</c:v>
                </c:pt>
                <c:pt idx="10">
                  <c:v>0.15569547796222094</c:v>
                </c:pt>
                <c:pt idx="11">
                  <c:v>0.16857855361596011</c:v>
                </c:pt>
                <c:pt idx="12">
                  <c:v>7.4539739559946111E-2</c:v>
                </c:pt>
                <c:pt idx="13">
                  <c:v>8.8276289298435812E-2</c:v>
                </c:pt>
                <c:pt idx="14">
                  <c:v>0.12498309211416204</c:v>
                </c:pt>
                <c:pt idx="15">
                  <c:v>0.18138452588714368</c:v>
                </c:pt>
                <c:pt idx="16">
                  <c:v>0.14165666266506602</c:v>
                </c:pt>
                <c:pt idx="17">
                  <c:v>0.1479028697571744</c:v>
                </c:pt>
                <c:pt idx="18">
                  <c:v>0.11480718280836032</c:v>
                </c:pt>
                <c:pt idx="19">
                  <c:v>9.3632371392722707E-2</c:v>
                </c:pt>
                <c:pt idx="20">
                  <c:v>0.13874849578820697</c:v>
                </c:pt>
                <c:pt idx="21">
                  <c:v>0.13652222847495779</c:v>
                </c:pt>
                <c:pt idx="22">
                  <c:v>0.15403580233679923</c:v>
                </c:pt>
                <c:pt idx="23">
                  <c:v>0.17133235108398231</c:v>
                </c:pt>
                <c:pt idx="24">
                  <c:v>0.15942246954429237</c:v>
                </c:pt>
                <c:pt idx="25">
                  <c:v>0.15122520420070013</c:v>
                </c:pt>
                <c:pt idx="26">
                  <c:v>0.14388297872340425</c:v>
                </c:pt>
                <c:pt idx="27">
                  <c:v>0.14590094539297305</c:v>
                </c:pt>
                <c:pt idx="28">
                  <c:v>0.17754237288135594</c:v>
                </c:pt>
                <c:pt idx="29">
                  <c:v>0.20690327613104526</c:v>
                </c:pt>
                <c:pt idx="30">
                  <c:v>0.21121923297080711</c:v>
                </c:pt>
                <c:pt idx="31">
                  <c:v>0.21997739474427805</c:v>
                </c:pt>
                <c:pt idx="32">
                  <c:v>0.26157965194109772</c:v>
                </c:pt>
                <c:pt idx="33">
                  <c:v>0.24257695450830835</c:v>
                </c:pt>
                <c:pt idx="34">
                  <c:v>0.24201834862385321</c:v>
                </c:pt>
                <c:pt idx="35">
                  <c:v>0.27579449603816991</c:v>
                </c:pt>
                <c:pt idx="36">
                  <c:v>0.28461283369258827</c:v>
                </c:pt>
                <c:pt idx="37">
                  <c:v>0.39609813774756136</c:v>
                </c:pt>
                <c:pt idx="38">
                  <c:v>0.3273101060376542</c:v>
                </c:pt>
                <c:pt idx="39">
                  <c:v>0.34169920059490611</c:v>
                </c:pt>
                <c:pt idx="40">
                  <c:v>0.25894318447509934</c:v>
                </c:pt>
                <c:pt idx="41">
                  <c:v>0.32805736804703145</c:v>
                </c:pt>
                <c:pt idx="42">
                  <c:v>0.34814198557958959</c:v>
                </c:pt>
                <c:pt idx="43">
                  <c:v>0.35221843003412967</c:v>
                </c:pt>
                <c:pt idx="44">
                  <c:v>0.35687032357167631</c:v>
                </c:pt>
                <c:pt idx="45">
                  <c:v>0.36520182693494629</c:v>
                </c:pt>
                <c:pt idx="46">
                  <c:v>0.37080934642736202</c:v>
                </c:pt>
                <c:pt idx="47">
                  <c:v>0.34877197783402886</c:v>
                </c:pt>
                <c:pt idx="48">
                  <c:v>0.36404799637763186</c:v>
                </c:pt>
                <c:pt idx="49">
                  <c:v>0.4067628456864123</c:v>
                </c:pt>
                <c:pt idx="50">
                  <c:v>0.38812785388127852</c:v>
                </c:pt>
                <c:pt idx="51">
                  <c:v>0.40462821849683162</c:v>
                </c:pt>
                <c:pt idx="52">
                  <c:v>0.38493577096760051</c:v>
                </c:pt>
                <c:pt idx="53">
                  <c:v>0.41493236212278878</c:v>
                </c:pt>
                <c:pt idx="54">
                  <c:v>0.36291153658404296</c:v>
                </c:pt>
                <c:pt idx="55">
                  <c:v>0.38197456175516603</c:v>
                </c:pt>
                <c:pt idx="56">
                  <c:v>0.39475904952254054</c:v>
                </c:pt>
                <c:pt idx="57">
                  <c:v>0.37389504549178559</c:v>
                </c:pt>
                <c:pt idx="58">
                  <c:v>0.34481344813448134</c:v>
                </c:pt>
                <c:pt idx="59">
                  <c:v>0.38161559888579388</c:v>
                </c:pt>
                <c:pt idx="60">
                  <c:v>0.38640936528260472</c:v>
                </c:pt>
                <c:pt idx="61">
                  <c:v>0.37402612617889991</c:v>
                </c:pt>
                <c:pt idx="62">
                  <c:v>0.34586374199861375</c:v>
                </c:pt>
                <c:pt idx="63">
                  <c:v>0.41493808659988957</c:v>
                </c:pt>
                <c:pt idx="64">
                  <c:v>0.38153973509933775</c:v>
                </c:pt>
                <c:pt idx="65">
                  <c:v>0.34446500293334537</c:v>
                </c:pt>
                <c:pt idx="66">
                  <c:v>0.35785343982065293</c:v>
                </c:pt>
                <c:pt idx="67">
                  <c:v>0.32531365313653138</c:v>
                </c:pt>
                <c:pt idx="68">
                  <c:v>0.25535677845044552</c:v>
                </c:pt>
                <c:pt idx="69">
                  <c:v>0.3050226451580072</c:v>
                </c:pt>
                <c:pt idx="70">
                  <c:v>0.32955575702629192</c:v>
                </c:pt>
                <c:pt idx="71">
                  <c:v>0.32158085661554126</c:v>
                </c:pt>
                <c:pt idx="72">
                  <c:v>0.28597945798787278</c:v>
                </c:pt>
                <c:pt idx="73">
                  <c:v>0.32059319990354473</c:v>
                </c:pt>
                <c:pt idx="74">
                  <c:v>0.27688243064729195</c:v>
                </c:pt>
                <c:pt idx="75">
                  <c:v>0.25351884808283448</c:v>
                </c:pt>
                <c:pt idx="76">
                  <c:v>0.30534803747183681</c:v>
                </c:pt>
                <c:pt idx="77">
                  <c:v>0.27187930894638657</c:v>
                </c:pt>
                <c:pt idx="78">
                  <c:v>0.29896757306965249</c:v>
                </c:pt>
                <c:pt idx="79">
                  <c:v>0.27105642895116577</c:v>
                </c:pt>
                <c:pt idx="80">
                  <c:v>0.27509666332521837</c:v>
                </c:pt>
                <c:pt idx="81">
                  <c:v>0.26308032424465733</c:v>
                </c:pt>
                <c:pt idx="82">
                  <c:v>0.22686753431984311</c:v>
                </c:pt>
                <c:pt idx="83">
                  <c:v>0.2911221984636097</c:v>
                </c:pt>
                <c:pt idx="84">
                  <c:v>0.26804500960570854</c:v>
                </c:pt>
                <c:pt idx="85">
                  <c:v>0.26094929881337647</c:v>
                </c:pt>
                <c:pt idx="86">
                  <c:v>0.24134450388614112</c:v>
                </c:pt>
                <c:pt idx="87">
                  <c:v>0.26306753147653567</c:v>
                </c:pt>
                <c:pt idx="88">
                  <c:v>0.2128305158214131</c:v>
                </c:pt>
                <c:pt idx="89">
                  <c:v>0.19759036144578312</c:v>
                </c:pt>
                <c:pt idx="90">
                  <c:v>0.28689000774593337</c:v>
                </c:pt>
                <c:pt idx="91">
                  <c:v>0.24796176553275232</c:v>
                </c:pt>
                <c:pt idx="92">
                  <c:v>0.27573644217757887</c:v>
                </c:pt>
                <c:pt idx="93">
                  <c:v>0.26641590542718968</c:v>
                </c:pt>
                <c:pt idx="94">
                  <c:v>0.30903415350716124</c:v>
                </c:pt>
                <c:pt idx="95">
                  <c:v>0.2</c:v>
                </c:pt>
                <c:pt idx="96">
                  <c:v>0.21710463449593884</c:v>
                </c:pt>
                <c:pt idx="97">
                  <c:v>0.28037770231094178</c:v>
                </c:pt>
                <c:pt idx="98">
                  <c:v>0.31468760222440301</c:v>
                </c:pt>
                <c:pt idx="99">
                  <c:v>0.28174298627099853</c:v>
                </c:pt>
                <c:pt idx="100">
                  <c:v>0.2689782994825855</c:v>
                </c:pt>
                <c:pt idx="101">
                  <c:v>0.30829493087557602</c:v>
                </c:pt>
                <c:pt idx="102">
                  <c:v>0.30284191829484902</c:v>
                </c:pt>
                <c:pt idx="103">
                  <c:v>0.2357850808555034</c:v>
                </c:pt>
                <c:pt idx="104">
                  <c:v>0.30733474605236177</c:v>
                </c:pt>
                <c:pt idx="105">
                  <c:v>0.31290156772038036</c:v>
                </c:pt>
                <c:pt idx="106">
                  <c:v>0.29638411381149971</c:v>
                </c:pt>
                <c:pt idx="107">
                  <c:v>0.31886659401243672</c:v>
                </c:pt>
                <c:pt idx="108">
                  <c:v>0.28601605407689057</c:v>
                </c:pt>
                <c:pt idx="109">
                  <c:v>0.35946813388353965</c:v>
                </c:pt>
                <c:pt idx="110">
                  <c:v>0.2769932652617858</c:v>
                </c:pt>
                <c:pt idx="111">
                  <c:v>0.32761135420172782</c:v>
                </c:pt>
                <c:pt idx="112">
                  <c:v>0.38722163575126928</c:v>
                </c:pt>
                <c:pt idx="113">
                  <c:v>0.41831383622428397</c:v>
                </c:pt>
                <c:pt idx="114">
                  <c:v>0.35241502683363146</c:v>
                </c:pt>
                <c:pt idx="115">
                  <c:v>0.35829407389040419</c:v>
                </c:pt>
                <c:pt idx="116">
                  <c:v>0.3476413089672758</c:v>
                </c:pt>
                <c:pt idx="117">
                  <c:v>0.40042133774734784</c:v>
                </c:pt>
                <c:pt idx="118">
                  <c:v>0.50277315585135884</c:v>
                </c:pt>
                <c:pt idx="119">
                  <c:v>0.49306485299630481</c:v>
                </c:pt>
                <c:pt idx="120">
                  <c:v>0.50213011769802873</c:v>
                </c:pt>
                <c:pt idx="121">
                  <c:v>0.48368953880764903</c:v>
                </c:pt>
                <c:pt idx="122">
                  <c:v>0.36069771163386144</c:v>
                </c:pt>
                <c:pt idx="123">
                  <c:v>0.41199809554039041</c:v>
                </c:pt>
                <c:pt idx="124">
                  <c:v>0.35489854420774547</c:v>
                </c:pt>
                <c:pt idx="125">
                  <c:v>0.41023218142548595</c:v>
                </c:pt>
                <c:pt idx="126">
                  <c:v>0.47691044343541689</c:v>
                </c:pt>
                <c:pt idx="127">
                  <c:v>0.40249974596077637</c:v>
                </c:pt>
                <c:pt idx="128">
                  <c:v>0.35708740878745537</c:v>
                </c:pt>
                <c:pt idx="129">
                  <c:v>0.44225991141838611</c:v>
                </c:pt>
                <c:pt idx="130">
                  <c:v>0.35142915895537735</c:v>
                </c:pt>
                <c:pt idx="131">
                  <c:v>0.27469544909423721</c:v>
                </c:pt>
                <c:pt idx="132">
                  <c:v>0.30405124859125687</c:v>
                </c:pt>
                <c:pt idx="133">
                  <c:v>0.34152832340641237</c:v>
                </c:pt>
                <c:pt idx="134">
                  <c:v>0.2773658962058439</c:v>
                </c:pt>
                <c:pt idx="135">
                  <c:v>0.30805191180574937</c:v>
                </c:pt>
                <c:pt idx="136">
                  <c:v>0.31215469613259667</c:v>
                </c:pt>
                <c:pt idx="137">
                  <c:v>0.29967134747535107</c:v>
                </c:pt>
                <c:pt idx="138">
                  <c:v>0.26533206228153799</c:v>
                </c:pt>
                <c:pt idx="139">
                  <c:v>0.33027061948173136</c:v>
                </c:pt>
                <c:pt idx="140">
                  <c:v>0.30733733271804337</c:v>
                </c:pt>
                <c:pt idx="141">
                  <c:v>0.32285714285714284</c:v>
                </c:pt>
                <c:pt idx="142">
                  <c:v>0.28442437923250563</c:v>
                </c:pt>
                <c:pt idx="143">
                  <c:v>0.30254831537540622</c:v>
                </c:pt>
                <c:pt idx="144">
                  <c:v>0.27326150832517138</c:v>
                </c:pt>
                <c:pt idx="145">
                  <c:v>0.23747312717049776</c:v>
                </c:pt>
                <c:pt idx="146">
                  <c:v>0.31057995454212184</c:v>
                </c:pt>
                <c:pt idx="147">
                  <c:v>0.29738800525317377</c:v>
                </c:pt>
                <c:pt idx="148">
                  <c:v>0.30767338908017705</c:v>
                </c:pt>
                <c:pt idx="149">
                  <c:v>0.26910054467834538</c:v>
                </c:pt>
                <c:pt idx="150">
                  <c:v>0.281326352530541</c:v>
                </c:pt>
                <c:pt idx="151">
                  <c:v>0.31630510846745974</c:v>
                </c:pt>
                <c:pt idx="152">
                  <c:v>0.2502082986168972</c:v>
                </c:pt>
                <c:pt idx="153">
                  <c:v>0.30320720720720723</c:v>
                </c:pt>
                <c:pt idx="154">
                  <c:v>0.31320353982300886</c:v>
                </c:pt>
                <c:pt idx="155">
                  <c:v>0.28723976338634094</c:v>
                </c:pt>
                <c:pt idx="156">
                  <c:v>0.28185785075068415</c:v>
                </c:pt>
                <c:pt idx="157">
                  <c:v>0.30857917938284163</c:v>
                </c:pt>
                <c:pt idx="158">
                  <c:v>0.26302988186240445</c:v>
                </c:pt>
                <c:pt idx="159">
                  <c:v>0.27161172161172159</c:v>
                </c:pt>
                <c:pt idx="160">
                  <c:v>0.33584195672624645</c:v>
                </c:pt>
                <c:pt idx="161">
                  <c:v>0.32341517039208501</c:v>
                </c:pt>
                <c:pt idx="162">
                  <c:v>0.31404770920106018</c:v>
                </c:pt>
                <c:pt idx="163">
                  <c:v>0.28865979381443296</c:v>
                </c:pt>
                <c:pt idx="164">
                  <c:v>0.29395197153868957</c:v>
                </c:pt>
                <c:pt idx="165">
                  <c:v>0.27790973871733965</c:v>
                </c:pt>
                <c:pt idx="166">
                  <c:v>0.27178490443796566</c:v>
                </c:pt>
                <c:pt idx="167">
                  <c:v>0.36478147464851451</c:v>
                </c:pt>
                <c:pt idx="168">
                  <c:v>0.33503218884120173</c:v>
                </c:pt>
                <c:pt idx="169">
                  <c:v>0.33718726307808944</c:v>
                </c:pt>
                <c:pt idx="170">
                  <c:v>0.30384051597771916</c:v>
                </c:pt>
                <c:pt idx="171">
                  <c:v>0.34949328950972336</c:v>
                </c:pt>
                <c:pt idx="172">
                  <c:v>0.371445153801509</c:v>
                </c:pt>
                <c:pt idx="173">
                  <c:v>0.30608135320177204</c:v>
                </c:pt>
                <c:pt idx="174">
                  <c:v>0.38238633291885171</c:v>
                </c:pt>
                <c:pt idx="175">
                  <c:v>0.36459941442640403</c:v>
                </c:pt>
                <c:pt idx="176">
                  <c:v>0.36075059485182781</c:v>
                </c:pt>
                <c:pt idx="177">
                  <c:v>0.3402763561924258</c:v>
                </c:pt>
                <c:pt idx="178">
                  <c:v>0.32977275107341081</c:v>
                </c:pt>
                <c:pt idx="179">
                  <c:v>0.3265962333486449</c:v>
                </c:pt>
                <c:pt idx="180">
                  <c:v>0.31511174394849256</c:v>
                </c:pt>
                <c:pt idx="181">
                  <c:v>0.36887720323303147</c:v>
                </c:pt>
                <c:pt idx="182">
                  <c:v>0.36430556985483376</c:v>
                </c:pt>
                <c:pt idx="183">
                  <c:v>0.36658641264524233</c:v>
                </c:pt>
                <c:pt idx="184">
                  <c:v>0.2996583944539335</c:v>
                </c:pt>
                <c:pt idx="185">
                  <c:v>0.41661910740783015</c:v>
                </c:pt>
                <c:pt idx="186">
                  <c:v>0.31164621440148182</c:v>
                </c:pt>
                <c:pt idx="187">
                  <c:v>0.29709854258590723</c:v>
                </c:pt>
                <c:pt idx="188">
                  <c:v>0.36232449297971919</c:v>
                </c:pt>
                <c:pt idx="189">
                  <c:v>0.35468277945619336</c:v>
                </c:pt>
                <c:pt idx="190">
                  <c:v>0.31276794035414723</c:v>
                </c:pt>
                <c:pt idx="191">
                  <c:v>0.37699787638314519</c:v>
                </c:pt>
                <c:pt idx="192">
                  <c:v>0.33696365306390236</c:v>
                </c:pt>
                <c:pt idx="193">
                  <c:v>0.29417067307692307</c:v>
                </c:pt>
                <c:pt idx="194">
                  <c:v>0.27999458031298691</c:v>
                </c:pt>
                <c:pt idx="195">
                  <c:v>0.35510204081632651</c:v>
                </c:pt>
                <c:pt idx="196">
                  <c:v>0.34245781270127529</c:v>
                </c:pt>
                <c:pt idx="197">
                  <c:v>0.32530378842030022</c:v>
                </c:pt>
                <c:pt idx="198">
                  <c:v>0.282523927685218</c:v>
                </c:pt>
                <c:pt idx="199">
                  <c:v>0.27787610619469028</c:v>
                </c:pt>
                <c:pt idx="200">
                  <c:v>0.24600638977635783</c:v>
                </c:pt>
                <c:pt idx="201">
                  <c:v>0.23016750948166878</c:v>
                </c:pt>
                <c:pt idx="202">
                  <c:v>0.30586008874967374</c:v>
                </c:pt>
                <c:pt idx="203">
                  <c:v>0.30270600825561839</c:v>
                </c:pt>
                <c:pt idx="204">
                  <c:v>0.24775569707665157</c:v>
                </c:pt>
                <c:pt idx="205">
                  <c:v>0.25833130625152029</c:v>
                </c:pt>
                <c:pt idx="206">
                  <c:v>0.2752006263456645</c:v>
                </c:pt>
                <c:pt idx="207">
                  <c:v>0.1193298969072165</c:v>
                </c:pt>
                <c:pt idx="208">
                  <c:v>0.20921155347384857</c:v>
                </c:pt>
                <c:pt idx="209">
                  <c:v>0.26184047288914836</c:v>
                </c:pt>
                <c:pt idx="210">
                  <c:v>0.25113784135240574</c:v>
                </c:pt>
                <c:pt idx="211">
                  <c:v>0.23910268101404342</c:v>
                </c:pt>
                <c:pt idx="212">
                  <c:v>0.25662281492160749</c:v>
                </c:pt>
                <c:pt idx="213">
                  <c:v>0.22332199195793381</c:v>
                </c:pt>
                <c:pt idx="214">
                  <c:v>0.187871581450654</c:v>
                </c:pt>
                <c:pt idx="215">
                  <c:v>9.81439105008899E-2</c:v>
                </c:pt>
                <c:pt idx="216">
                  <c:v>0.18036276930937581</c:v>
                </c:pt>
                <c:pt idx="217">
                  <c:v>0.25021409108602571</c:v>
                </c:pt>
                <c:pt idx="218">
                  <c:v>0.24028478196380895</c:v>
                </c:pt>
                <c:pt idx="219">
                  <c:v>0.20348558843244277</c:v>
                </c:pt>
                <c:pt idx="220">
                  <c:v>0.1739850869925435</c:v>
                </c:pt>
                <c:pt idx="221">
                  <c:v>0.12860310421286031</c:v>
                </c:pt>
                <c:pt idx="222">
                  <c:v>0.12252695932750277</c:v>
                </c:pt>
                <c:pt idx="223">
                  <c:v>0.18632300616158987</c:v>
                </c:pt>
                <c:pt idx="224">
                  <c:v>0.14992272024729522</c:v>
                </c:pt>
                <c:pt idx="225">
                  <c:v>0.16311561299336361</c:v>
                </c:pt>
                <c:pt idx="226">
                  <c:v>0.14815238531060521</c:v>
                </c:pt>
                <c:pt idx="227">
                  <c:v>0.13372995344024832</c:v>
                </c:pt>
                <c:pt idx="228">
                  <c:v>0.10707547169811321</c:v>
                </c:pt>
                <c:pt idx="229">
                  <c:v>0.118263067617586</c:v>
                </c:pt>
                <c:pt idx="230">
                  <c:v>0.15305829424715228</c:v>
                </c:pt>
                <c:pt idx="231">
                  <c:v>0.13613203367301727</c:v>
                </c:pt>
                <c:pt idx="232">
                  <c:v>0.13735301476107081</c:v>
                </c:pt>
                <c:pt idx="233">
                  <c:v>0.12403100775193798</c:v>
                </c:pt>
                <c:pt idx="234">
                  <c:v>0.11515689757252812</c:v>
                </c:pt>
                <c:pt idx="235">
                  <c:v>0.12806702573309395</c:v>
                </c:pt>
                <c:pt idx="236">
                  <c:v>9.8330948974725801E-2</c:v>
                </c:pt>
                <c:pt idx="237">
                  <c:v>0.14676180021953897</c:v>
                </c:pt>
                <c:pt idx="238">
                  <c:v>0.1100247015232606</c:v>
                </c:pt>
                <c:pt idx="239">
                  <c:v>0.1091238670694864</c:v>
                </c:pt>
                <c:pt idx="240">
                  <c:v>9.3472468916518656E-2</c:v>
                </c:pt>
                <c:pt idx="241">
                  <c:v>0.11692471970101441</c:v>
                </c:pt>
                <c:pt idx="242">
                  <c:v>8.3516483516483511E-2</c:v>
                </c:pt>
                <c:pt idx="243">
                  <c:v>7.119283356907119E-2</c:v>
                </c:pt>
                <c:pt idx="244">
                  <c:v>0.1092048828769383</c:v>
                </c:pt>
                <c:pt idx="245">
                  <c:v>8.3796348792380085E-2</c:v>
                </c:pt>
                <c:pt idx="246">
                  <c:v>8.1317550180133813E-2</c:v>
                </c:pt>
                <c:pt idx="247">
                  <c:v>7.6089663760896639E-2</c:v>
                </c:pt>
                <c:pt idx="248">
                  <c:v>6.4327485380116955E-2</c:v>
                </c:pt>
                <c:pt idx="249">
                  <c:v>6.1072756240042485E-2</c:v>
                </c:pt>
                <c:pt idx="250">
                  <c:v>5.0107619457597931E-2</c:v>
                </c:pt>
                <c:pt idx="251">
                  <c:v>8.8664558501581128E-2</c:v>
                </c:pt>
                <c:pt idx="252">
                  <c:v>5.9278024065864472E-2</c:v>
                </c:pt>
                <c:pt idx="253">
                  <c:v>6.5727699530516437E-2</c:v>
                </c:pt>
                <c:pt idx="254">
                  <c:v>5.2850655903128152E-2</c:v>
                </c:pt>
                <c:pt idx="255">
                  <c:v>5.1230101302460203E-2</c:v>
                </c:pt>
                <c:pt idx="256">
                  <c:v>3.3953997809419496E-2</c:v>
                </c:pt>
                <c:pt idx="257">
                  <c:v>2.8719294409213499E-2</c:v>
                </c:pt>
                <c:pt idx="258">
                  <c:v>5.0030444489547389E-2</c:v>
                </c:pt>
                <c:pt idx="259">
                  <c:v>3.0048465266558966E-2</c:v>
                </c:pt>
                <c:pt idx="260">
                  <c:v>3.7285714285714283E-2</c:v>
                </c:pt>
                <c:pt idx="261">
                  <c:v>2.5878003696857672E-2</c:v>
                </c:pt>
                <c:pt idx="262">
                  <c:v>2.7548209366391185E-2</c:v>
                </c:pt>
                <c:pt idx="263">
                  <c:v>3.0432136335970784E-2</c:v>
                </c:pt>
                <c:pt idx="264">
                  <c:v>2.337739199053067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BA5-4429-A109-5FE847CAFF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6110019646365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217794253938832E-2</c:v>
                </c:pt>
                <c:pt idx="1">
                  <c:v>3.6881419234360412E-2</c:v>
                </c:pt>
                <c:pt idx="2">
                  <c:v>3.4586466165413533E-2</c:v>
                </c:pt>
                <c:pt idx="3">
                  <c:v>4.6039268788083954E-2</c:v>
                </c:pt>
                <c:pt idx="4">
                  <c:v>5.7627118644067797E-2</c:v>
                </c:pt>
                <c:pt idx="5">
                  <c:v>3.1588057118130682E-2</c:v>
                </c:pt>
                <c:pt idx="6">
                  <c:v>4.4680851063829789E-2</c:v>
                </c:pt>
                <c:pt idx="7">
                  <c:v>5.5137089484784574E-2</c:v>
                </c:pt>
                <c:pt idx="8">
                  <c:v>6.3902825455505671E-2</c:v>
                </c:pt>
                <c:pt idx="9">
                  <c:v>5.5248618784530384E-2</c:v>
                </c:pt>
                <c:pt idx="10">
                  <c:v>8.727858293075684E-2</c:v>
                </c:pt>
                <c:pt idx="11">
                  <c:v>8.0586080586080591E-2</c:v>
                </c:pt>
                <c:pt idx="12">
                  <c:v>4.1791791791791794E-2</c:v>
                </c:pt>
                <c:pt idx="13">
                  <c:v>6.347256347256347E-2</c:v>
                </c:pt>
                <c:pt idx="14">
                  <c:v>8.5323535415390894E-2</c:v>
                </c:pt>
                <c:pt idx="15">
                  <c:v>0.10741327698538475</c:v>
                </c:pt>
                <c:pt idx="16">
                  <c:v>7.6035177720776836E-2</c:v>
                </c:pt>
                <c:pt idx="17">
                  <c:v>9.1028331584470101E-2</c:v>
                </c:pt>
                <c:pt idx="18">
                  <c:v>7.0148684712161652E-2</c:v>
                </c:pt>
                <c:pt idx="19">
                  <c:v>6.8289530374838425E-2</c:v>
                </c:pt>
                <c:pt idx="20">
                  <c:v>8.3195895180502105E-2</c:v>
                </c:pt>
                <c:pt idx="21">
                  <c:v>8.4766162310866575E-2</c:v>
                </c:pt>
                <c:pt idx="22">
                  <c:v>0.10766912257200267</c:v>
                </c:pt>
                <c:pt idx="23">
                  <c:v>0.10954063604240283</c:v>
                </c:pt>
                <c:pt idx="24">
                  <c:v>0.11651444087879535</c:v>
                </c:pt>
                <c:pt idx="25">
                  <c:v>0.10941475826972011</c:v>
                </c:pt>
                <c:pt idx="26">
                  <c:v>8.4241296837629556E-2</c:v>
                </c:pt>
                <c:pt idx="27">
                  <c:v>0.10141260805397428</c:v>
                </c:pt>
                <c:pt idx="28">
                  <c:v>0.12207293666026871</c:v>
                </c:pt>
                <c:pt idx="29">
                  <c:v>0.13113395225464192</c:v>
                </c:pt>
                <c:pt idx="30">
                  <c:v>0.1525080222935315</c:v>
                </c:pt>
                <c:pt idx="31">
                  <c:v>0.15284199075333152</c:v>
                </c:pt>
                <c:pt idx="32">
                  <c:v>0.20046216060080879</c:v>
                </c:pt>
                <c:pt idx="33">
                  <c:v>0.17332058331341144</c:v>
                </c:pt>
                <c:pt idx="34">
                  <c:v>0.16236884225502402</c:v>
                </c:pt>
                <c:pt idx="35">
                  <c:v>0.1928633594429939</c:v>
                </c:pt>
                <c:pt idx="36">
                  <c:v>0.18853820598006646</c:v>
                </c:pt>
                <c:pt idx="37">
                  <c:v>0.26318039327443715</c:v>
                </c:pt>
                <c:pt idx="38">
                  <c:v>0.22747909199522104</c:v>
                </c:pt>
                <c:pt idx="39">
                  <c:v>0.22176022176022175</c:v>
                </c:pt>
                <c:pt idx="40">
                  <c:v>0.17898521773871354</c:v>
                </c:pt>
                <c:pt idx="41">
                  <c:v>0.21150416171224731</c:v>
                </c:pt>
                <c:pt idx="42">
                  <c:v>0.22133403223692832</c:v>
                </c:pt>
                <c:pt idx="43">
                  <c:v>0.20887221934816347</c:v>
                </c:pt>
                <c:pt idx="44">
                  <c:v>0.23347805113362277</c:v>
                </c:pt>
                <c:pt idx="45">
                  <c:v>0.23067687227975386</c:v>
                </c:pt>
                <c:pt idx="46">
                  <c:v>0.23637176050044684</c:v>
                </c:pt>
                <c:pt idx="47">
                  <c:v>0.22370306678131269</c:v>
                </c:pt>
                <c:pt idx="48">
                  <c:v>0.23064737564684762</c:v>
                </c:pt>
                <c:pt idx="49">
                  <c:v>0.2635801899843217</c:v>
                </c:pt>
                <c:pt idx="50">
                  <c:v>0.25165736217725054</c:v>
                </c:pt>
                <c:pt idx="51">
                  <c:v>0.26899347787766614</c:v>
                </c:pt>
                <c:pt idx="52">
                  <c:v>0.25193798449612403</c:v>
                </c:pt>
                <c:pt idx="53">
                  <c:v>0.27584998247458814</c:v>
                </c:pt>
                <c:pt idx="54">
                  <c:v>0.25115289109613337</c:v>
                </c:pt>
                <c:pt idx="55">
                  <c:v>0.26652984741679309</c:v>
                </c:pt>
                <c:pt idx="56">
                  <c:v>0.24506454062262717</c:v>
                </c:pt>
                <c:pt idx="57">
                  <c:v>0.23328301216588224</c:v>
                </c:pt>
                <c:pt idx="58">
                  <c:v>0.2337673462395066</c:v>
                </c:pt>
                <c:pt idx="59">
                  <c:v>0.24830958077603246</c:v>
                </c:pt>
                <c:pt idx="60">
                  <c:v>0.27480141963833021</c:v>
                </c:pt>
                <c:pt idx="61">
                  <c:v>0.22051022985602425</c:v>
                </c:pt>
                <c:pt idx="62">
                  <c:v>0.22153267512929009</c:v>
                </c:pt>
                <c:pt idx="63">
                  <c:v>0.26753403412028259</c:v>
                </c:pt>
                <c:pt idx="64">
                  <c:v>0.23896526772793053</c:v>
                </c:pt>
                <c:pt idx="65">
                  <c:v>0.2467544956245793</c:v>
                </c:pt>
                <c:pt idx="66">
                  <c:v>0.26040960260409601</c:v>
                </c:pt>
                <c:pt idx="67">
                  <c:v>0.23137074517019318</c:v>
                </c:pt>
                <c:pt idx="68">
                  <c:v>0.18485753676470587</c:v>
                </c:pt>
                <c:pt idx="69">
                  <c:v>0.20020610830054339</c:v>
                </c:pt>
                <c:pt idx="70">
                  <c:v>0.20454325761237313</c:v>
                </c:pt>
                <c:pt idx="71">
                  <c:v>0.20777230432402846</c:v>
                </c:pt>
                <c:pt idx="72">
                  <c:v>0.20514533912462413</c:v>
                </c:pt>
                <c:pt idx="73">
                  <c:v>0.23617659665666524</c:v>
                </c:pt>
                <c:pt idx="74">
                  <c:v>0.21557562076749437</c:v>
                </c:pt>
                <c:pt idx="75">
                  <c:v>0.15752537248974305</c:v>
                </c:pt>
                <c:pt idx="76">
                  <c:v>0.22091254752851711</c:v>
                </c:pt>
                <c:pt idx="77">
                  <c:v>0.17836593785960875</c:v>
                </c:pt>
                <c:pt idx="78">
                  <c:v>0.20890365448504983</c:v>
                </c:pt>
                <c:pt idx="79">
                  <c:v>0.21123872026251025</c:v>
                </c:pt>
                <c:pt idx="80">
                  <c:v>0.20138578453285649</c:v>
                </c:pt>
                <c:pt idx="81">
                  <c:v>0.21196911196911197</c:v>
                </c:pt>
                <c:pt idx="82">
                  <c:v>0.13032082197525688</c:v>
                </c:pt>
                <c:pt idx="83">
                  <c:v>0.19526066350710899</c:v>
                </c:pt>
                <c:pt idx="84">
                  <c:v>0.18076868928621709</c:v>
                </c:pt>
                <c:pt idx="85">
                  <c:v>0.163787587971849</c:v>
                </c:pt>
                <c:pt idx="86">
                  <c:v>0.17493780280214744</c:v>
                </c:pt>
                <c:pt idx="87">
                  <c:v>0.22023529411764706</c:v>
                </c:pt>
                <c:pt idx="88">
                  <c:v>0.19597508385241974</c:v>
                </c:pt>
                <c:pt idx="89">
                  <c:v>0.11076280041797283</c:v>
                </c:pt>
                <c:pt idx="90">
                  <c:v>0.18845644053500421</c:v>
                </c:pt>
                <c:pt idx="91">
                  <c:v>0.17604218985434456</c:v>
                </c:pt>
                <c:pt idx="92">
                  <c:v>0.19591164768829744</c:v>
                </c:pt>
                <c:pt idx="93">
                  <c:v>0.19780874121710135</c:v>
                </c:pt>
                <c:pt idx="94">
                  <c:v>0.26809594565909572</c:v>
                </c:pt>
                <c:pt idx="95">
                  <c:v>0.16269343370974487</c:v>
                </c:pt>
                <c:pt idx="96">
                  <c:v>0.12802132156970866</c:v>
                </c:pt>
                <c:pt idx="97">
                  <c:v>0.18699353779874858</c:v>
                </c:pt>
                <c:pt idx="98">
                  <c:v>0.19621605126640221</c:v>
                </c:pt>
                <c:pt idx="99">
                  <c:v>0.20256514657980457</c:v>
                </c:pt>
                <c:pt idx="100">
                  <c:v>0.18578698330506205</c:v>
                </c:pt>
                <c:pt idx="101">
                  <c:v>0.20850040096230954</c:v>
                </c:pt>
                <c:pt idx="102">
                  <c:v>0.21650124069478907</c:v>
                </c:pt>
                <c:pt idx="103">
                  <c:v>0.13676759732599292</c:v>
                </c:pt>
                <c:pt idx="104">
                  <c:v>0.19529206625980819</c:v>
                </c:pt>
                <c:pt idx="105">
                  <c:v>0.18192707943400463</c:v>
                </c:pt>
                <c:pt idx="106">
                  <c:v>0.1729957805907173</c:v>
                </c:pt>
                <c:pt idx="107">
                  <c:v>0.17722114028607883</c:v>
                </c:pt>
                <c:pt idx="108">
                  <c:v>0.17541557305336833</c:v>
                </c:pt>
                <c:pt idx="109">
                  <c:v>0.18549410698096103</c:v>
                </c:pt>
                <c:pt idx="110">
                  <c:v>0.14229294923916833</c:v>
                </c:pt>
                <c:pt idx="111">
                  <c:v>0.16747393913867537</c:v>
                </c:pt>
                <c:pt idx="112">
                  <c:v>0.18052457846373449</c:v>
                </c:pt>
                <c:pt idx="113">
                  <c:v>0.23361213771639758</c:v>
                </c:pt>
                <c:pt idx="114">
                  <c:v>0.21541262135922329</c:v>
                </c:pt>
                <c:pt idx="115">
                  <c:v>0.18528784648187632</c:v>
                </c:pt>
                <c:pt idx="116">
                  <c:v>0.19276485788113695</c:v>
                </c:pt>
                <c:pt idx="117">
                  <c:v>0.19912905779889153</c:v>
                </c:pt>
                <c:pt idx="118">
                  <c:v>0.2668037324055037</c:v>
                </c:pt>
                <c:pt idx="119">
                  <c:v>0.26720132743362834</c:v>
                </c:pt>
                <c:pt idx="120">
                  <c:v>0.29875009031139371</c:v>
                </c:pt>
                <c:pt idx="121">
                  <c:v>0.352827140549273</c:v>
                </c:pt>
                <c:pt idx="122">
                  <c:v>0.2037170436536522</c:v>
                </c:pt>
                <c:pt idx="123">
                  <c:v>0.25695538057742784</c:v>
                </c:pt>
                <c:pt idx="124">
                  <c:v>0.19467554076539101</c:v>
                </c:pt>
                <c:pt idx="125">
                  <c:v>0.24636613631899432</c:v>
                </c:pt>
                <c:pt idx="126">
                  <c:v>0.28613855731338167</c:v>
                </c:pt>
                <c:pt idx="127">
                  <c:v>0.25894512160871763</c:v>
                </c:pt>
                <c:pt idx="128">
                  <c:v>0.22365752108465892</c:v>
                </c:pt>
                <c:pt idx="129">
                  <c:v>0.28088277443393522</c:v>
                </c:pt>
                <c:pt idx="130">
                  <c:v>0.23427165051530532</c:v>
                </c:pt>
                <c:pt idx="131">
                  <c:v>0.15420762407096619</c:v>
                </c:pt>
                <c:pt idx="132">
                  <c:v>0.20420638209697473</c:v>
                </c:pt>
                <c:pt idx="133">
                  <c:v>0.22587159232642395</c:v>
                </c:pt>
                <c:pt idx="134">
                  <c:v>0.17727699530516433</c:v>
                </c:pt>
                <c:pt idx="135">
                  <c:v>0.20713443396226416</c:v>
                </c:pt>
                <c:pt idx="136">
                  <c:v>0.23966207203201423</c:v>
                </c:pt>
                <c:pt idx="137">
                  <c:v>0.22297154899894625</c:v>
                </c:pt>
                <c:pt idx="138">
                  <c:v>0.15929203539823009</c:v>
                </c:pt>
                <c:pt idx="139">
                  <c:v>0.22039026800049402</c:v>
                </c:pt>
                <c:pt idx="140">
                  <c:v>0.20352862849533954</c:v>
                </c:pt>
                <c:pt idx="141">
                  <c:v>0.19541091781643671</c:v>
                </c:pt>
                <c:pt idx="142">
                  <c:v>0.19151132430627238</c:v>
                </c:pt>
                <c:pt idx="143">
                  <c:v>0.22303622303622303</c:v>
                </c:pt>
                <c:pt idx="144">
                  <c:v>0.20551378446115287</c:v>
                </c:pt>
                <c:pt idx="145">
                  <c:v>0.14766636891469406</c:v>
                </c:pt>
                <c:pt idx="146">
                  <c:v>0.22113098961591393</c:v>
                </c:pt>
                <c:pt idx="147">
                  <c:v>0.18358128049147746</c:v>
                </c:pt>
                <c:pt idx="148">
                  <c:v>0.218895966029724</c:v>
                </c:pt>
                <c:pt idx="149">
                  <c:v>0.19011607456911714</c:v>
                </c:pt>
                <c:pt idx="150">
                  <c:v>0.20373346519965385</c:v>
                </c:pt>
                <c:pt idx="151">
                  <c:v>0.2023591620907057</c:v>
                </c:pt>
                <c:pt idx="152">
                  <c:v>0.14885897570722473</c:v>
                </c:pt>
                <c:pt idx="153">
                  <c:v>0.19891989198919893</c:v>
                </c:pt>
                <c:pt idx="154">
                  <c:v>0.21600890033961823</c:v>
                </c:pt>
                <c:pt idx="155">
                  <c:v>0.1922531580304202</c:v>
                </c:pt>
                <c:pt idx="156">
                  <c:v>0.18802165576359126</c:v>
                </c:pt>
                <c:pt idx="157">
                  <c:v>0.23607122343480758</c:v>
                </c:pt>
                <c:pt idx="158">
                  <c:v>0.17741935483870969</c:v>
                </c:pt>
                <c:pt idx="159">
                  <c:v>0.16435443576250466</c:v>
                </c:pt>
                <c:pt idx="160">
                  <c:v>0.21541716393620483</c:v>
                </c:pt>
                <c:pt idx="161">
                  <c:v>0.20468040516940272</c:v>
                </c:pt>
                <c:pt idx="162">
                  <c:v>0.20459813318298564</c:v>
                </c:pt>
                <c:pt idx="163">
                  <c:v>0.18885688967656181</c:v>
                </c:pt>
                <c:pt idx="164">
                  <c:v>0.21655291951034558</c:v>
                </c:pt>
                <c:pt idx="165">
                  <c:v>0.19857638255156052</c:v>
                </c:pt>
                <c:pt idx="166">
                  <c:v>0.17286891885452899</c:v>
                </c:pt>
                <c:pt idx="167">
                  <c:v>0.23304831974547624</c:v>
                </c:pt>
                <c:pt idx="168">
                  <c:v>0.20147369505848406</c:v>
                </c:pt>
                <c:pt idx="169">
                  <c:v>0.215674269095362</c:v>
                </c:pt>
                <c:pt idx="170">
                  <c:v>0.19108569353667393</c:v>
                </c:pt>
                <c:pt idx="171">
                  <c:v>0.2467391304347826</c:v>
                </c:pt>
                <c:pt idx="172">
                  <c:v>0.22569650266745703</c:v>
                </c:pt>
                <c:pt idx="173">
                  <c:v>0.17920807698375138</c:v>
                </c:pt>
                <c:pt idx="174">
                  <c:v>0.24011426239542952</c:v>
                </c:pt>
                <c:pt idx="175">
                  <c:v>0.20239614640372186</c:v>
                </c:pt>
                <c:pt idx="176">
                  <c:v>0.22230243322434073</c:v>
                </c:pt>
                <c:pt idx="177">
                  <c:v>0.20432607068279421</c:v>
                </c:pt>
                <c:pt idx="178">
                  <c:v>0.21838296582556641</c:v>
                </c:pt>
                <c:pt idx="179">
                  <c:v>0.21263444183459018</c:v>
                </c:pt>
                <c:pt idx="180">
                  <c:v>0.17199852234946436</c:v>
                </c:pt>
                <c:pt idx="181">
                  <c:v>0.22179942190186966</c:v>
                </c:pt>
                <c:pt idx="182">
                  <c:v>0.20981829525072135</c:v>
                </c:pt>
                <c:pt idx="183">
                  <c:v>0.19191408226001011</c:v>
                </c:pt>
                <c:pt idx="184">
                  <c:v>0.16801344393592677</c:v>
                </c:pt>
                <c:pt idx="185">
                  <c:v>0.26265675801207616</c:v>
                </c:pt>
                <c:pt idx="186">
                  <c:v>0.16895499618611748</c:v>
                </c:pt>
                <c:pt idx="187">
                  <c:v>0.12644954354798915</c:v>
                </c:pt>
                <c:pt idx="188">
                  <c:v>0.17511092457129152</c:v>
                </c:pt>
                <c:pt idx="189">
                  <c:v>0.16152655394141463</c:v>
                </c:pt>
                <c:pt idx="190">
                  <c:v>0.12309351409644123</c:v>
                </c:pt>
                <c:pt idx="191">
                  <c:v>0.16513644883565778</c:v>
                </c:pt>
                <c:pt idx="192">
                  <c:v>0.21866963826504371</c:v>
                </c:pt>
                <c:pt idx="193">
                  <c:v>0.15470795568982881</c:v>
                </c:pt>
                <c:pt idx="194">
                  <c:v>0.11835684735334677</c:v>
                </c:pt>
                <c:pt idx="195">
                  <c:v>0.15488331892826274</c:v>
                </c:pt>
                <c:pt idx="196">
                  <c:v>0.13715870307167236</c:v>
                </c:pt>
                <c:pt idx="197">
                  <c:v>0.1305250859998702</c:v>
                </c:pt>
                <c:pt idx="198">
                  <c:v>0.13251121894268306</c:v>
                </c:pt>
                <c:pt idx="199">
                  <c:v>0.20490367775831875</c:v>
                </c:pt>
                <c:pt idx="200">
                  <c:v>0.12522001508674879</c:v>
                </c:pt>
                <c:pt idx="201">
                  <c:v>9.5101395838820116E-2</c:v>
                </c:pt>
                <c:pt idx="202">
                  <c:v>0.1294844176360764</c:v>
                </c:pt>
                <c:pt idx="203">
                  <c:v>0.10689156309594265</c:v>
                </c:pt>
                <c:pt idx="204">
                  <c:v>0.10100671140939597</c:v>
                </c:pt>
                <c:pt idx="205">
                  <c:v>0.11860781644954307</c:v>
                </c:pt>
                <c:pt idx="206">
                  <c:v>0.18454986395362594</c:v>
                </c:pt>
                <c:pt idx="207">
                  <c:v>0.12536293766011955</c:v>
                </c:pt>
                <c:pt idx="208">
                  <c:v>8.1480488131956547E-2</c:v>
                </c:pt>
                <c:pt idx="209">
                  <c:v>0.10718057022175291</c:v>
                </c:pt>
                <c:pt idx="210">
                  <c:v>9.157606001520209E-2</c:v>
                </c:pt>
                <c:pt idx="211">
                  <c:v>7.4052830188679239E-2</c:v>
                </c:pt>
                <c:pt idx="212">
                  <c:v>0.14663991975927784</c:v>
                </c:pt>
                <c:pt idx="213">
                  <c:v>0.15606299212598426</c:v>
                </c:pt>
                <c:pt idx="214">
                  <c:v>0.14345042394878008</c:v>
                </c:pt>
                <c:pt idx="215">
                  <c:v>8.9517422364776209E-2</c:v>
                </c:pt>
                <c:pt idx="216">
                  <c:v>5.2307101563666615E-2</c:v>
                </c:pt>
                <c:pt idx="217">
                  <c:v>7.7512046590002076E-2</c:v>
                </c:pt>
                <c:pt idx="218">
                  <c:v>6.6739012479652735E-2</c:v>
                </c:pt>
                <c:pt idx="219">
                  <c:v>8.1614963503649635E-2</c:v>
                </c:pt>
                <c:pt idx="220">
                  <c:v>0.12280701754385964</c:v>
                </c:pt>
                <c:pt idx="221">
                  <c:v>6.59444182760245E-2</c:v>
                </c:pt>
                <c:pt idx="222">
                  <c:v>4.8323225609924955E-2</c:v>
                </c:pt>
                <c:pt idx="223">
                  <c:v>6.4517126252009394E-2</c:v>
                </c:pt>
                <c:pt idx="224">
                  <c:v>5.3129189303605447E-2</c:v>
                </c:pt>
                <c:pt idx="225">
                  <c:v>4.69618411727405E-2</c:v>
                </c:pt>
                <c:pt idx="226">
                  <c:v>6.8306830683068309E-2</c:v>
                </c:pt>
                <c:pt idx="227">
                  <c:v>9.9011406844106462E-2</c:v>
                </c:pt>
                <c:pt idx="228">
                  <c:v>5.5709493947790581E-2</c:v>
                </c:pt>
                <c:pt idx="229">
                  <c:v>4.1280135344706051E-2</c:v>
                </c:pt>
                <c:pt idx="230">
                  <c:v>4.7440373258507619E-2</c:v>
                </c:pt>
                <c:pt idx="231">
                  <c:v>4.3121224179720002E-2</c:v>
                </c:pt>
                <c:pt idx="232">
                  <c:v>3.7805055200464843E-2</c:v>
                </c:pt>
                <c:pt idx="233">
                  <c:v>5.5517207375998419E-2</c:v>
                </c:pt>
                <c:pt idx="234">
                  <c:v>8.5552982049797333E-2</c:v>
                </c:pt>
                <c:pt idx="235">
                  <c:v>6.3316739265712504E-2</c:v>
                </c:pt>
                <c:pt idx="236">
                  <c:v>3.1552305961754783E-2</c:v>
                </c:pt>
                <c:pt idx="237">
                  <c:v>4.1381557510589771E-2</c:v>
                </c:pt>
                <c:pt idx="238">
                  <c:v>3.6580922538803469E-2</c:v>
                </c:pt>
                <c:pt idx="239">
                  <c:v>3.2026836158192087E-2</c:v>
                </c:pt>
                <c:pt idx="240">
                  <c:v>4.6014475387048843E-2</c:v>
                </c:pt>
                <c:pt idx="241">
                  <c:v>9.6624181880812954E-2</c:v>
                </c:pt>
                <c:pt idx="242">
                  <c:v>3.2536260290082324E-2</c:v>
                </c:pt>
                <c:pt idx="243">
                  <c:v>2.4406450458739043E-2</c:v>
                </c:pt>
                <c:pt idx="244">
                  <c:v>3.230206460412921E-2</c:v>
                </c:pt>
                <c:pt idx="245">
                  <c:v>2.8912361656872995E-2</c:v>
                </c:pt>
                <c:pt idx="246">
                  <c:v>2.4299338619505242E-2</c:v>
                </c:pt>
                <c:pt idx="247">
                  <c:v>3.6918690394258186E-2</c:v>
                </c:pt>
                <c:pt idx="248">
                  <c:v>5.5886863179417275E-2</c:v>
                </c:pt>
                <c:pt idx="249">
                  <c:v>2.4781751619262181E-2</c:v>
                </c:pt>
                <c:pt idx="250">
                  <c:v>1.8188650883126645E-2</c:v>
                </c:pt>
                <c:pt idx="251">
                  <c:v>2.0640172984306916E-2</c:v>
                </c:pt>
                <c:pt idx="252">
                  <c:v>1.9068901303538176E-2</c:v>
                </c:pt>
                <c:pt idx="253">
                  <c:v>1.8392091027793322E-2</c:v>
                </c:pt>
                <c:pt idx="254">
                  <c:v>2.2467402206619861E-2</c:v>
                </c:pt>
                <c:pt idx="255">
                  <c:v>4.1767189384800965E-2</c:v>
                </c:pt>
                <c:pt idx="256">
                  <c:v>1.5989811801330127E-2</c:v>
                </c:pt>
                <c:pt idx="257">
                  <c:v>1.1487625299387919E-2</c:v>
                </c:pt>
                <c:pt idx="258">
                  <c:v>1.4637474415431371E-2</c:v>
                </c:pt>
                <c:pt idx="259">
                  <c:v>1.2451577199778638E-2</c:v>
                </c:pt>
                <c:pt idx="260">
                  <c:v>1.0625863351397301E-2</c:v>
                </c:pt>
                <c:pt idx="261">
                  <c:v>1.3191035218783351E-2</c:v>
                </c:pt>
                <c:pt idx="262">
                  <c:v>2.4410222804718218E-2</c:v>
                </c:pt>
                <c:pt idx="263">
                  <c:v>1.4167650531286895E-2</c:v>
                </c:pt>
                <c:pt idx="264">
                  <c:v>1.150072915285695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1A-461C-9852-4CC32B3E51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78069204330972E-2"/>
          <c:y val="8.3481760709576552E-2"/>
          <c:w val="0.91740097734358894"/>
          <c:h val="0.7417896241201473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43</c:f>
              <c:numCache>
                <c:formatCode>m/d/yyyy</c:formatCode>
                <c:ptCount val="42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</c:numCache>
            </c:numRef>
          </c:cat>
          <c:val>
            <c:numRef>
              <c:f>List1!$B$2:$B$43</c:f>
              <c:numCache>
                <c:formatCode>General</c:formatCode>
                <c:ptCount val="42"/>
                <c:pt idx="0">
                  <c:v>380074</c:v>
                </c:pt>
                <c:pt idx="1">
                  <c:v>400266</c:v>
                </c:pt>
                <c:pt idx="2">
                  <c:v>418771</c:v>
                </c:pt>
                <c:pt idx="3">
                  <c:v>785857</c:v>
                </c:pt>
                <c:pt idx="4">
                  <c:v>799538</c:v>
                </c:pt>
                <c:pt idx="5">
                  <c:v>799695</c:v>
                </c:pt>
                <c:pt idx="6">
                  <c:v>800741</c:v>
                </c:pt>
                <c:pt idx="7">
                  <c:v>1209018</c:v>
                </c:pt>
                <c:pt idx="8">
                  <c:v>1234433</c:v>
                </c:pt>
                <c:pt idx="9">
                  <c:v>1260580</c:v>
                </c:pt>
                <c:pt idx="10">
                  <c:v>1644355</c:v>
                </c:pt>
                <c:pt idx="11">
                  <c:v>1662523</c:v>
                </c:pt>
                <c:pt idx="12">
                  <c:v>1662664</c:v>
                </c:pt>
                <c:pt idx="13">
                  <c:v>1665873</c:v>
                </c:pt>
                <c:pt idx="14">
                  <c:v>2103054</c:v>
                </c:pt>
                <c:pt idx="15">
                  <c:v>2149719</c:v>
                </c:pt>
                <c:pt idx="16">
                  <c:v>2197815</c:v>
                </c:pt>
                <c:pt idx="17">
                  <c:v>2620675</c:v>
                </c:pt>
                <c:pt idx="18">
                  <c:v>2659902</c:v>
                </c:pt>
                <c:pt idx="19">
                  <c:v>2660067</c:v>
                </c:pt>
                <c:pt idx="20">
                  <c:v>2663394</c:v>
                </c:pt>
                <c:pt idx="21">
                  <c:v>3135780</c:v>
                </c:pt>
                <c:pt idx="22">
                  <c:v>3168741</c:v>
                </c:pt>
                <c:pt idx="23">
                  <c:v>3199547</c:v>
                </c:pt>
                <c:pt idx="24">
                  <c:v>3304407</c:v>
                </c:pt>
                <c:pt idx="25">
                  <c:v>3326012</c:v>
                </c:pt>
                <c:pt idx="26">
                  <c:v>3326603</c:v>
                </c:pt>
                <c:pt idx="27">
                  <c:v>3330124</c:v>
                </c:pt>
                <c:pt idx="28">
                  <c:v>3843569</c:v>
                </c:pt>
                <c:pt idx="29">
                  <c:v>3879037</c:v>
                </c:pt>
                <c:pt idx="30">
                  <c:v>3905239</c:v>
                </c:pt>
                <c:pt idx="31">
                  <c:v>4088742</c:v>
                </c:pt>
                <c:pt idx="32">
                  <c:v>4102496</c:v>
                </c:pt>
                <c:pt idx="33">
                  <c:v>4102522</c:v>
                </c:pt>
                <c:pt idx="34">
                  <c:v>4698722</c:v>
                </c:pt>
                <c:pt idx="35">
                  <c:v>4871992</c:v>
                </c:pt>
                <c:pt idx="36">
                  <c:v>4915558</c:v>
                </c:pt>
                <c:pt idx="37">
                  <c:v>4955576</c:v>
                </c:pt>
                <c:pt idx="38">
                  <c:v>5070066</c:v>
                </c:pt>
                <c:pt idx="39">
                  <c:v>5090195</c:v>
                </c:pt>
                <c:pt idx="40">
                  <c:v>5106691</c:v>
                </c:pt>
                <c:pt idx="41">
                  <c:v>51141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78A-4B66-9E45-FC701E9D0FDA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78A-4B66-9E45-FC701E9D0FD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78A-4B66-9E45-FC701E9D0FD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78A-4B66-9E45-FC701E9D0FD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78A-4B66-9E45-FC701E9D0FD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78A-4B66-9E45-FC701E9D0FD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78A-4B66-9E45-FC701E9D0FD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78A-4B66-9E45-FC701E9D0FD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78A-4B66-9E45-FC701E9D0FD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43</c:f>
              <c:numCache>
                <c:formatCode>m/d/yyyy</c:formatCode>
                <c:ptCount val="42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</c:numCache>
            </c:numRef>
          </c:cat>
          <c:val>
            <c:numRef>
              <c:f>List1!$C$2:$C$43</c:f>
              <c:numCache>
                <c:formatCode>General</c:formatCode>
                <c:ptCount val="42"/>
                <c:pt idx="0">
                  <c:v>147838</c:v>
                </c:pt>
                <c:pt idx="1">
                  <c:v>160889</c:v>
                </c:pt>
                <c:pt idx="2">
                  <c:v>171139</c:v>
                </c:pt>
                <c:pt idx="3">
                  <c:v>280026</c:v>
                </c:pt>
                <c:pt idx="4">
                  <c:v>287848</c:v>
                </c:pt>
                <c:pt idx="5">
                  <c:v>287925</c:v>
                </c:pt>
                <c:pt idx="6">
                  <c:v>288226</c:v>
                </c:pt>
                <c:pt idx="7">
                  <c:v>432044</c:v>
                </c:pt>
                <c:pt idx="8">
                  <c:v>443327</c:v>
                </c:pt>
                <c:pt idx="9">
                  <c:v>453390</c:v>
                </c:pt>
                <c:pt idx="10">
                  <c:v>560060</c:v>
                </c:pt>
                <c:pt idx="11">
                  <c:v>567250</c:v>
                </c:pt>
                <c:pt idx="12">
                  <c:v>567349</c:v>
                </c:pt>
                <c:pt idx="13">
                  <c:v>567718</c:v>
                </c:pt>
                <c:pt idx="14">
                  <c:v>700427</c:v>
                </c:pt>
                <c:pt idx="15">
                  <c:v>711391</c:v>
                </c:pt>
                <c:pt idx="16">
                  <c:v>721090</c:v>
                </c:pt>
                <c:pt idx="17">
                  <c:v>815397</c:v>
                </c:pt>
                <c:pt idx="18">
                  <c:v>822639</c:v>
                </c:pt>
                <c:pt idx="19">
                  <c:v>822702</c:v>
                </c:pt>
                <c:pt idx="20">
                  <c:v>823016</c:v>
                </c:pt>
                <c:pt idx="21">
                  <c:v>951222</c:v>
                </c:pt>
                <c:pt idx="22">
                  <c:v>960945</c:v>
                </c:pt>
                <c:pt idx="23">
                  <c:v>966691</c:v>
                </c:pt>
                <c:pt idx="24">
                  <c:v>974278</c:v>
                </c:pt>
                <c:pt idx="25">
                  <c:v>977769</c:v>
                </c:pt>
                <c:pt idx="26">
                  <c:v>977826</c:v>
                </c:pt>
                <c:pt idx="27">
                  <c:v>978152</c:v>
                </c:pt>
                <c:pt idx="28">
                  <c:v>1101070</c:v>
                </c:pt>
                <c:pt idx="29">
                  <c:v>1110134</c:v>
                </c:pt>
                <c:pt idx="30">
                  <c:v>1114207</c:v>
                </c:pt>
                <c:pt idx="31">
                  <c:v>1119856</c:v>
                </c:pt>
                <c:pt idx="32">
                  <c:v>1121574</c:v>
                </c:pt>
                <c:pt idx="33">
                  <c:v>1121586</c:v>
                </c:pt>
                <c:pt idx="34">
                  <c:v>1218244</c:v>
                </c:pt>
                <c:pt idx="35">
                  <c:v>1249114</c:v>
                </c:pt>
                <c:pt idx="36">
                  <c:v>1257503</c:v>
                </c:pt>
                <c:pt idx="37">
                  <c:v>1263983</c:v>
                </c:pt>
                <c:pt idx="38">
                  <c:v>1269116</c:v>
                </c:pt>
                <c:pt idx="39">
                  <c:v>1271209</c:v>
                </c:pt>
                <c:pt idx="40">
                  <c:v>1273090</c:v>
                </c:pt>
                <c:pt idx="41">
                  <c:v>1273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578A-4B66-9E45-FC701E9D0F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1"/>
      </c:date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5.01 - 31.01</c:v>
                </c:pt>
                <c:pt idx="1">
                  <c:v>01.02 - 07.02</c:v>
                </c:pt>
                <c:pt idx="2">
                  <c:v>08.02 - 14.02</c:v>
                </c:pt>
                <c:pt idx="3">
                  <c:v>15.02 - 21.02</c:v>
                </c:pt>
                <c:pt idx="4">
                  <c:v>22.02 - 28.02</c:v>
                </c:pt>
                <c:pt idx="5">
                  <c:v>01.03 - 07.03</c:v>
                </c:pt>
                <c:pt idx="6">
                  <c:v>08.03 - 14.03</c:v>
                </c:pt>
                <c:pt idx="7">
                  <c:v>15.03 - 21.03</c:v>
                </c:pt>
                <c:pt idx="8">
                  <c:v>22.03 - 28.03</c:v>
                </c:pt>
                <c:pt idx="9">
                  <c:v>29.03 - 04.04</c:v>
                </c:pt>
                <c:pt idx="10">
                  <c:v>05.04 - 11.04</c:v>
                </c:pt>
                <c:pt idx="11">
                  <c:v>12.04 - 18.04</c:v>
                </c:pt>
                <c:pt idx="12">
                  <c:v>19.04 - 25.04</c:v>
                </c:pt>
                <c:pt idx="13">
                  <c:v>26.04 - 02.05</c:v>
                </c:pt>
                <c:pt idx="14">
                  <c:v>03.05 - 09.05</c:v>
                </c:pt>
                <c:pt idx="15">
                  <c:v>10.05 - 16.05</c:v>
                </c:pt>
                <c:pt idx="16">
                  <c:v>17.05 - 23.05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226.52670000000001</c:v>
                </c:pt>
                <c:pt idx="1">
                  <c:v>248.0335</c:v>
                </c:pt>
                <c:pt idx="2">
                  <c:v>266.1909</c:v>
                </c:pt>
                <c:pt idx="3">
                  <c:v>341.9936467</c:v>
                </c:pt>
                <c:pt idx="4">
                  <c:v>443.88659999999999</c:v>
                </c:pt>
                <c:pt idx="5">
                  <c:v>443.53399999999999</c:v>
                </c:pt>
                <c:pt idx="6">
                  <c:v>377.25069999999999</c:v>
                </c:pt>
                <c:pt idx="7">
                  <c:v>330.1825</c:v>
                </c:pt>
                <c:pt idx="8">
                  <c:v>272.53719999999998</c:v>
                </c:pt>
                <c:pt idx="9">
                  <c:v>200.78909999999999</c:v>
                </c:pt>
                <c:pt idx="10">
                  <c:v>147.02199999999999</c:v>
                </c:pt>
                <c:pt idx="11">
                  <c:v>137.15</c:v>
                </c:pt>
                <c:pt idx="12">
                  <c:v>108.0629</c:v>
                </c:pt>
                <c:pt idx="13">
                  <c:v>91.315830000000005</c:v>
                </c:pt>
                <c:pt idx="14">
                  <c:v>74.921289999999999</c:v>
                </c:pt>
                <c:pt idx="15">
                  <c:v>60.113320000000002</c:v>
                </c:pt>
                <c:pt idx="16">
                  <c:v>38.25392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5.01 - 31.01</c:v>
                </c:pt>
                <c:pt idx="1">
                  <c:v>01.02 - 07.02</c:v>
                </c:pt>
                <c:pt idx="2">
                  <c:v>08.02 - 14.02</c:v>
                </c:pt>
                <c:pt idx="3">
                  <c:v>15.02 - 21.02</c:v>
                </c:pt>
                <c:pt idx="4">
                  <c:v>22.02 - 28.02</c:v>
                </c:pt>
                <c:pt idx="5">
                  <c:v>01.03 - 07.03</c:v>
                </c:pt>
                <c:pt idx="6">
                  <c:v>08.03 - 14.03</c:v>
                </c:pt>
                <c:pt idx="7">
                  <c:v>15.03 - 21.03</c:v>
                </c:pt>
                <c:pt idx="8">
                  <c:v>22.03 - 28.03</c:v>
                </c:pt>
                <c:pt idx="9">
                  <c:v>29.03 - 04.04</c:v>
                </c:pt>
                <c:pt idx="10">
                  <c:v>05.04 - 11.04</c:v>
                </c:pt>
                <c:pt idx="11">
                  <c:v>12.04 - 18.04</c:v>
                </c:pt>
                <c:pt idx="12">
                  <c:v>19.04 - 25.04</c:v>
                </c:pt>
                <c:pt idx="13">
                  <c:v>26.04 - 02.05</c:v>
                </c:pt>
                <c:pt idx="14">
                  <c:v>03.05 - 09.05</c:v>
                </c:pt>
                <c:pt idx="15">
                  <c:v>10.05 - 16.05</c:v>
                </c:pt>
                <c:pt idx="16">
                  <c:v>17.05 - 23.0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397.45299999999997</c:v>
                </c:pt>
                <c:pt idx="1">
                  <c:v>444.4622</c:v>
                </c:pt>
                <c:pt idx="2">
                  <c:v>496.84750000000003</c:v>
                </c:pt>
                <c:pt idx="3">
                  <c:v>660.50462400000004</c:v>
                </c:pt>
                <c:pt idx="4">
                  <c:v>783.90380000000005</c:v>
                </c:pt>
                <c:pt idx="5">
                  <c:v>707.63890000000004</c:v>
                </c:pt>
                <c:pt idx="6">
                  <c:v>555.73410000000001</c:v>
                </c:pt>
                <c:pt idx="7">
                  <c:v>444.2122</c:v>
                </c:pt>
                <c:pt idx="8">
                  <c:v>356.57</c:v>
                </c:pt>
                <c:pt idx="9">
                  <c:v>255.05009999999999</c:v>
                </c:pt>
                <c:pt idx="10">
                  <c:v>191.16249999999999</c:v>
                </c:pt>
                <c:pt idx="11">
                  <c:v>198.91399999999999</c:v>
                </c:pt>
                <c:pt idx="12">
                  <c:v>174.9093</c:v>
                </c:pt>
                <c:pt idx="13">
                  <c:v>142.52799999999999</c:v>
                </c:pt>
                <c:pt idx="14">
                  <c:v>117.273</c:v>
                </c:pt>
                <c:pt idx="15">
                  <c:v>75.264769999999999</c:v>
                </c:pt>
                <c:pt idx="16">
                  <c:v>63.51245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5.01 - 31.01</c:v>
                </c:pt>
                <c:pt idx="1">
                  <c:v>01.02 - 07.02</c:v>
                </c:pt>
                <c:pt idx="2">
                  <c:v>08.02 - 14.02</c:v>
                </c:pt>
                <c:pt idx="3">
                  <c:v>15.02 - 21.02</c:v>
                </c:pt>
                <c:pt idx="4">
                  <c:v>22.02 - 28.02</c:v>
                </c:pt>
                <c:pt idx="5">
                  <c:v>01.03 - 07.03</c:v>
                </c:pt>
                <c:pt idx="6">
                  <c:v>08.03 - 14.03</c:v>
                </c:pt>
                <c:pt idx="7">
                  <c:v>15.03 - 21.03</c:v>
                </c:pt>
                <c:pt idx="8">
                  <c:v>22.03 - 28.03</c:v>
                </c:pt>
                <c:pt idx="9">
                  <c:v>29.03 - 04.04</c:v>
                </c:pt>
                <c:pt idx="10">
                  <c:v>05.04 - 11.04</c:v>
                </c:pt>
                <c:pt idx="11">
                  <c:v>12.04 - 18.04</c:v>
                </c:pt>
                <c:pt idx="12">
                  <c:v>19.04 - 25.04</c:v>
                </c:pt>
                <c:pt idx="13">
                  <c:v>26.04 - 02.05</c:v>
                </c:pt>
                <c:pt idx="14">
                  <c:v>03.05 - 09.05</c:v>
                </c:pt>
                <c:pt idx="15">
                  <c:v>10.05 - 16.05</c:v>
                </c:pt>
                <c:pt idx="16">
                  <c:v>17.05 - 23.0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358.56369999999998</c:v>
                </c:pt>
                <c:pt idx="1">
                  <c:v>383.70940000000002</c:v>
                </c:pt>
                <c:pt idx="2">
                  <c:v>417.86959999999999</c:v>
                </c:pt>
                <c:pt idx="3">
                  <c:v>537.54895699999997</c:v>
                </c:pt>
                <c:pt idx="4">
                  <c:v>687.71159999999998</c:v>
                </c:pt>
                <c:pt idx="5">
                  <c:v>722.82069999999999</c:v>
                </c:pt>
                <c:pt idx="6">
                  <c:v>694.7097</c:v>
                </c:pt>
                <c:pt idx="7">
                  <c:v>601.00630000000001</c:v>
                </c:pt>
                <c:pt idx="8">
                  <c:v>451.1995</c:v>
                </c:pt>
                <c:pt idx="9">
                  <c:v>339.82299999999998</c:v>
                </c:pt>
                <c:pt idx="10">
                  <c:v>251.57579999999999</c:v>
                </c:pt>
                <c:pt idx="11">
                  <c:v>229.15809999999999</c:v>
                </c:pt>
                <c:pt idx="12">
                  <c:v>170.08940000000001</c:v>
                </c:pt>
                <c:pt idx="13">
                  <c:v>143.04589999999999</c:v>
                </c:pt>
                <c:pt idx="14">
                  <c:v>114.8163</c:v>
                </c:pt>
                <c:pt idx="15">
                  <c:v>77.690770000000001</c:v>
                </c:pt>
                <c:pt idx="16">
                  <c:v>59.89898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5.01 - 31.01</c:v>
                </c:pt>
                <c:pt idx="1">
                  <c:v>01.02 - 07.02</c:v>
                </c:pt>
                <c:pt idx="2">
                  <c:v>08.02 - 14.02</c:v>
                </c:pt>
                <c:pt idx="3">
                  <c:v>15.02 - 21.02</c:v>
                </c:pt>
                <c:pt idx="4">
                  <c:v>22.02 - 28.02</c:v>
                </c:pt>
                <c:pt idx="5">
                  <c:v>01.03 - 07.03</c:v>
                </c:pt>
                <c:pt idx="6">
                  <c:v>08.03 - 14.03</c:v>
                </c:pt>
                <c:pt idx="7">
                  <c:v>15.03 - 21.03</c:v>
                </c:pt>
                <c:pt idx="8">
                  <c:v>22.03 - 28.03</c:v>
                </c:pt>
                <c:pt idx="9">
                  <c:v>29.03 - 04.04</c:v>
                </c:pt>
                <c:pt idx="10">
                  <c:v>05.04 - 11.04</c:v>
                </c:pt>
                <c:pt idx="11">
                  <c:v>12.04 - 18.04</c:v>
                </c:pt>
                <c:pt idx="12">
                  <c:v>19.04 - 25.04</c:v>
                </c:pt>
                <c:pt idx="13">
                  <c:v>26.04 - 02.05</c:v>
                </c:pt>
                <c:pt idx="14">
                  <c:v>03.05 - 09.05</c:v>
                </c:pt>
                <c:pt idx="15">
                  <c:v>10.05 - 16.05</c:v>
                </c:pt>
                <c:pt idx="16">
                  <c:v>17.05 - 23.0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338.74900000000002</c:v>
                </c:pt>
                <c:pt idx="1">
                  <c:v>370.87290000000002</c:v>
                </c:pt>
                <c:pt idx="2">
                  <c:v>407.5213</c:v>
                </c:pt>
                <c:pt idx="3">
                  <c:v>531.85448680000002</c:v>
                </c:pt>
                <c:pt idx="4">
                  <c:v>659.94299999999998</c:v>
                </c:pt>
                <c:pt idx="5">
                  <c:v>645.64559999999994</c:v>
                </c:pt>
                <c:pt idx="6">
                  <c:v>562.93780000000004</c:v>
                </c:pt>
                <c:pt idx="7">
                  <c:v>474.75529999999998</c:v>
                </c:pt>
                <c:pt idx="8">
                  <c:v>371.09910000000002</c:v>
                </c:pt>
                <c:pt idx="9">
                  <c:v>273.46050000000002</c:v>
                </c:pt>
                <c:pt idx="10">
                  <c:v>202.8784</c:v>
                </c:pt>
                <c:pt idx="11">
                  <c:v>194.5986</c:v>
                </c:pt>
                <c:pt idx="12">
                  <c:v>155.91409999999999</c:v>
                </c:pt>
                <c:pt idx="13">
                  <c:v>129.58160000000001</c:v>
                </c:pt>
                <c:pt idx="14">
                  <c:v>105.46599999999999</c:v>
                </c:pt>
                <c:pt idx="15">
                  <c:v>72.301439999999999</c:v>
                </c:pt>
                <c:pt idx="16">
                  <c:v>55.6512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5.01 - 31.01</c:v>
                </c:pt>
                <c:pt idx="1">
                  <c:v>01.02 - 07.02</c:v>
                </c:pt>
                <c:pt idx="2">
                  <c:v>08.02 - 14.02</c:v>
                </c:pt>
                <c:pt idx="3">
                  <c:v>15.02 - 21.02</c:v>
                </c:pt>
                <c:pt idx="4">
                  <c:v>22.02 - 28.02</c:v>
                </c:pt>
                <c:pt idx="5">
                  <c:v>01.03 - 07.03</c:v>
                </c:pt>
                <c:pt idx="6">
                  <c:v>08.03 - 14.03</c:v>
                </c:pt>
                <c:pt idx="7">
                  <c:v>15.03 - 21.03</c:v>
                </c:pt>
                <c:pt idx="8">
                  <c:v>22.03 - 28.03</c:v>
                </c:pt>
                <c:pt idx="9">
                  <c:v>29.03 - 04.04</c:v>
                </c:pt>
                <c:pt idx="10">
                  <c:v>05.04 - 11.04</c:v>
                </c:pt>
                <c:pt idx="11">
                  <c:v>12.04 - 18.04</c:v>
                </c:pt>
                <c:pt idx="12">
                  <c:v>19.04 - 25.04</c:v>
                </c:pt>
                <c:pt idx="13">
                  <c:v>26.04 - 02.05</c:v>
                </c:pt>
                <c:pt idx="14">
                  <c:v>03.05 - 09.05</c:v>
                </c:pt>
                <c:pt idx="15">
                  <c:v>10.05 - 16.05</c:v>
                </c:pt>
                <c:pt idx="16">
                  <c:v>17.05 - 23.0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442.59</c:v>
                </c:pt>
                <c:pt idx="1">
                  <c:v>467.53919999999999</c:v>
                </c:pt>
                <c:pt idx="2">
                  <c:v>499.60860000000002</c:v>
                </c:pt>
                <c:pt idx="3">
                  <c:v>619.4018059</c:v>
                </c:pt>
                <c:pt idx="4">
                  <c:v>773.89949999999999</c:v>
                </c:pt>
                <c:pt idx="5">
                  <c:v>796.82090000000005</c:v>
                </c:pt>
                <c:pt idx="6">
                  <c:v>719.9085</c:v>
                </c:pt>
                <c:pt idx="7">
                  <c:v>606.56280000000004</c:v>
                </c:pt>
                <c:pt idx="8">
                  <c:v>461.66160000000002</c:v>
                </c:pt>
                <c:pt idx="9">
                  <c:v>345.69029999999998</c:v>
                </c:pt>
                <c:pt idx="10">
                  <c:v>255.49959999999999</c:v>
                </c:pt>
                <c:pt idx="11">
                  <c:v>200.83580000000001</c:v>
                </c:pt>
                <c:pt idx="12">
                  <c:v>163.2252</c:v>
                </c:pt>
                <c:pt idx="13">
                  <c:v>134.34219999999999</c:v>
                </c:pt>
                <c:pt idx="14">
                  <c:v>101.1327</c:v>
                </c:pt>
                <c:pt idx="15">
                  <c:v>71.249849999999995</c:v>
                </c:pt>
                <c:pt idx="16">
                  <c:v>46.59038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lín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316.83154663095013</c:v>
                </c:pt>
                <c:pt idx="1">
                  <c:v>267.70369527631419</c:v>
                </c:pt>
                <c:pt idx="2">
                  <c:v>218.57584392167831</c:v>
                </c:pt>
                <c:pt idx="3">
                  <c:v>282.01110461819064</c:v>
                </c:pt>
                <c:pt idx="4">
                  <c:v>393.19518926289294</c:v>
                </c:pt>
                <c:pt idx="5">
                  <c:v>424.05092748212041</c:v>
                </c:pt>
                <c:pt idx="6">
                  <c:v>466.62839865613819</c:v>
                </c:pt>
                <c:pt idx="7">
                  <c:v>418.36243943053097</c:v>
                </c:pt>
                <c:pt idx="8">
                  <c:v>397.67702833384215</c:v>
                </c:pt>
                <c:pt idx="9">
                  <c:v>392.67805398547569</c:v>
                </c:pt>
                <c:pt idx="10">
                  <c:v>322.69241310834525</c:v>
                </c:pt>
                <c:pt idx="11">
                  <c:v>284.9415378568882</c:v>
                </c:pt>
                <c:pt idx="12">
                  <c:v>268.39320897953718</c:v>
                </c:pt>
                <c:pt idx="13">
                  <c:v>216.50730281200944</c:v>
                </c:pt>
                <c:pt idx="14">
                  <c:v>148.41782461874215</c:v>
                </c:pt>
                <c:pt idx="15">
                  <c:v>107.7365161285875</c:v>
                </c:pt>
                <c:pt idx="16">
                  <c:v>69.2961271739074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BAD-4927-AF32-6D9FDB8C6377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AD-4927-AF32-6D9FDB8C6377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AD-4927-AF32-6D9FDB8C6377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AD-4927-AF32-6D9FDB8C6377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AD-4927-AF32-6D9FDB8C6377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40.9174289466132</c:v>
                </c:pt>
                <c:pt idx="1">
                  <c:v>468.67917356154953</c:v>
                </c:pt>
                <c:pt idx="2">
                  <c:v>495.59993634701965</c:v>
                </c:pt>
                <c:pt idx="3">
                  <c:v>608.30084573804879</c:v>
                </c:pt>
                <c:pt idx="4">
                  <c:v>769.0498503192506</c:v>
                </c:pt>
                <c:pt idx="5">
                  <c:v>802.46486167671014</c:v>
                </c:pt>
                <c:pt idx="6">
                  <c:v>725.99158065057782</c:v>
                </c:pt>
                <c:pt idx="7">
                  <c:v>615.35574886301583</c:v>
                </c:pt>
                <c:pt idx="8">
                  <c:v>467.70737233638852</c:v>
                </c:pt>
                <c:pt idx="9">
                  <c:v>343.99894522190095</c:v>
                </c:pt>
                <c:pt idx="10">
                  <c:v>264.27386778849899</c:v>
                </c:pt>
                <c:pt idx="11">
                  <c:v>202.25612998663675</c:v>
                </c:pt>
                <c:pt idx="12">
                  <c:v>163.29998279724944</c:v>
                </c:pt>
                <c:pt idx="13">
                  <c:v>137.30430002419223</c:v>
                </c:pt>
                <c:pt idx="14">
                  <c:v>102.30076743329634</c:v>
                </c:pt>
                <c:pt idx="15">
                  <c:v>72.44591248724393</c:v>
                </c:pt>
                <c:pt idx="16">
                  <c:v>47.216457603255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BAD-4927-AF32-6D9FDB8C63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Liberecký kraj</c:v>
                </c:pt>
                <c:pt idx="1">
                  <c:v>Zlínský kraj</c:v>
                </c:pt>
                <c:pt idx="2">
                  <c:v>Ústecký kraj</c:v>
                </c:pt>
                <c:pt idx="3">
                  <c:v>Olomoucký kraj</c:v>
                </c:pt>
                <c:pt idx="4">
                  <c:v>Jihočeský kraj</c:v>
                </c:pt>
                <c:pt idx="5">
                  <c:v>Kraj Vysočina</c:v>
                </c:pt>
                <c:pt idx="6">
                  <c:v>Moravskoslezský kraj</c:v>
                </c:pt>
                <c:pt idx="7">
                  <c:v>Jihomoravský kraj</c:v>
                </c:pt>
                <c:pt idx="8">
                  <c:v>Pardubický kraj</c:v>
                </c:pt>
                <c:pt idx="9">
                  <c:v>Středočeský kraj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77.659168390000005</c:v>
                </c:pt>
                <c:pt idx="1">
                  <c:v>64.603132020000004</c:v>
                </c:pt>
                <c:pt idx="2">
                  <c:v>43.985547609999998</c:v>
                </c:pt>
                <c:pt idx="3">
                  <c:v>43.628521829999997</c:v>
                </c:pt>
                <c:pt idx="4">
                  <c:v>42.562593</c:v>
                </c:pt>
                <c:pt idx="5">
                  <c:v>39.686905680000002</c:v>
                </c:pt>
                <c:pt idx="6">
                  <c:v>37.43319339</c:v>
                </c:pt>
                <c:pt idx="7">
                  <c:v>36.421068980000001</c:v>
                </c:pt>
                <c:pt idx="8">
                  <c:v>32.503039989999998</c:v>
                </c:pt>
                <c:pt idx="9">
                  <c:v>32.057841510000003</c:v>
                </c:pt>
                <c:pt idx="10">
                  <c:v>31.82998723</c:v>
                </c:pt>
                <c:pt idx="11">
                  <c:v>31.078881160000002</c:v>
                </c:pt>
                <c:pt idx="12">
                  <c:v>29.974503609999999</c:v>
                </c:pt>
                <c:pt idx="13">
                  <c:v>17.91392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Kraj Vysočina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Olomoucký kraj</c:v>
                </c:pt>
                <c:pt idx="4">
                  <c:v>Ústecký kraj</c:v>
                </c:pt>
                <c:pt idx="5">
                  <c:v>Jihočeský kraj</c:v>
                </c:pt>
                <c:pt idx="6">
                  <c:v>Moravskoslezský kraj</c:v>
                </c:pt>
                <c:pt idx="7">
                  <c:v>Středočeský kraj</c:v>
                </c:pt>
                <c:pt idx="8">
                  <c:v>Jihomoravský kraj</c:v>
                </c:pt>
                <c:pt idx="9">
                  <c:v>Pardubický kraj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69.259072219999993</c:v>
                </c:pt>
                <c:pt idx="1">
                  <c:v>58.210121909999998</c:v>
                </c:pt>
                <c:pt idx="2">
                  <c:v>48.711031179999999</c:v>
                </c:pt>
                <c:pt idx="3">
                  <c:v>42.665236370000002</c:v>
                </c:pt>
                <c:pt idx="4">
                  <c:v>41.24427464</c:v>
                </c:pt>
                <c:pt idx="5">
                  <c:v>39.319657579999998</c:v>
                </c:pt>
                <c:pt idx="6">
                  <c:v>34.676949540000003</c:v>
                </c:pt>
                <c:pt idx="7">
                  <c:v>33.707434790000001</c:v>
                </c:pt>
                <c:pt idx="8">
                  <c:v>30.490077169999999</c:v>
                </c:pt>
                <c:pt idx="9">
                  <c:v>30.04047559</c:v>
                </c:pt>
                <c:pt idx="10">
                  <c:v>26.699299140000001</c:v>
                </c:pt>
                <c:pt idx="11">
                  <c:v>26.214467110000001</c:v>
                </c:pt>
                <c:pt idx="12">
                  <c:v>16.110443289999999</c:v>
                </c:pt>
                <c:pt idx="13">
                  <c:v>7.793827289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5.01 - 31.01</c:v>
                </c:pt>
                <c:pt idx="1">
                  <c:v>01.02 - 07.02</c:v>
                </c:pt>
                <c:pt idx="2">
                  <c:v>08.02 - 14.02</c:v>
                </c:pt>
                <c:pt idx="3">
                  <c:v>15.02 - 21.02</c:v>
                </c:pt>
                <c:pt idx="4">
                  <c:v>22.02 - 28.02</c:v>
                </c:pt>
                <c:pt idx="5">
                  <c:v>01.03 - 07.03</c:v>
                </c:pt>
                <c:pt idx="6">
                  <c:v>08.03 - 14.03</c:v>
                </c:pt>
                <c:pt idx="7">
                  <c:v>15.03 - 21.03</c:v>
                </c:pt>
                <c:pt idx="8">
                  <c:v>22.03 - 28.03</c:v>
                </c:pt>
                <c:pt idx="9">
                  <c:v>29.03 - 04.04</c:v>
                </c:pt>
                <c:pt idx="10">
                  <c:v>05.04 - 11.04</c:v>
                </c:pt>
                <c:pt idx="11">
                  <c:v>12.04 - 18.04</c:v>
                </c:pt>
                <c:pt idx="12">
                  <c:v>19.04 - 25.04</c:v>
                </c:pt>
                <c:pt idx="13">
                  <c:v>26.04 - 02.05</c:v>
                </c:pt>
                <c:pt idx="14">
                  <c:v>03.05 - 09.05</c:v>
                </c:pt>
                <c:pt idx="15">
                  <c:v>10.05 - 16.05</c:v>
                </c:pt>
                <c:pt idx="16">
                  <c:v>17.05 - 23.05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7.64706</c:v>
                </c:pt>
                <c:pt idx="1">
                  <c:v>17.651299999999999</c:v>
                </c:pt>
                <c:pt idx="2">
                  <c:v>19.895630000000001</c:v>
                </c:pt>
                <c:pt idx="3">
                  <c:v>20.717379999999999</c:v>
                </c:pt>
                <c:pt idx="4">
                  <c:v>20.876049999999999</c:v>
                </c:pt>
                <c:pt idx="5">
                  <c:v>19.405670000000001</c:v>
                </c:pt>
                <c:pt idx="6">
                  <c:v>23.631319999999999</c:v>
                </c:pt>
                <c:pt idx="7">
                  <c:v>24.261769999999999</c:v>
                </c:pt>
                <c:pt idx="8">
                  <c:v>20.94943</c:v>
                </c:pt>
                <c:pt idx="9">
                  <c:v>19.23077</c:v>
                </c:pt>
                <c:pt idx="10">
                  <c:v>20</c:v>
                </c:pt>
                <c:pt idx="11">
                  <c:v>17.236660000000001</c:v>
                </c:pt>
                <c:pt idx="12">
                  <c:v>15.408810000000001</c:v>
                </c:pt>
                <c:pt idx="13">
                  <c:v>11.28284</c:v>
                </c:pt>
                <c:pt idx="14">
                  <c:v>9.7633139999999994</c:v>
                </c:pt>
                <c:pt idx="15">
                  <c:v>7.6258990000000004</c:v>
                </c:pt>
                <c:pt idx="16">
                  <c:v>2.455661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5.01 - 31.01</c:v>
                </c:pt>
                <c:pt idx="1">
                  <c:v>01.02 - 07.02</c:v>
                </c:pt>
                <c:pt idx="2">
                  <c:v>08.02 - 14.02</c:v>
                </c:pt>
                <c:pt idx="3">
                  <c:v>15.02 - 21.02</c:v>
                </c:pt>
                <c:pt idx="4">
                  <c:v>22.02 - 28.02</c:v>
                </c:pt>
                <c:pt idx="5">
                  <c:v>01.03 - 07.03</c:v>
                </c:pt>
                <c:pt idx="6">
                  <c:v>08.03 - 14.03</c:v>
                </c:pt>
                <c:pt idx="7">
                  <c:v>15.03 - 21.03</c:v>
                </c:pt>
                <c:pt idx="8">
                  <c:v>22.03 - 28.03</c:v>
                </c:pt>
                <c:pt idx="9">
                  <c:v>29.03 - 04.04</c:v>
                </c:pt>
                <c:pt idx="10">
                  <c:v>05.04 - 11.04</c:v>
                </c:pt>
                <c:pt idx="11">
                  <c:v>12.04 - 18.04</c:v>
                </c:pt>
                <c:pt idx="12">
                  <c:v>19.04 - 25.04</c:v>
                </c:pt>
                <c:pt idx="13">
                  <c:v>26.04 - 02.05</c:v>
                </c:pt>
                <c:pt idx="14">
                  <c:v>03.05 - 09.05</c:v>
                </c:pt>
                <c:pt idx="15">
                  <c:v>10.05 - 16.05</c:v>
                </c:pt>
                <c:pt idx="16">
                  <c:v>17.05 - 23.05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8.114059999999998</c:v>
                </c:pt>
                <c:pt idx="1">
                  <c:v>18.97174</c:v>
                </c:pt>
                <c:pt idx="2">
                  <c:v>18.273260000000001</c:v>
                </c:pt>
                <c:pt idx="3">
                  <c:v>21.428570000000001</c:v>
                </c:pt>
                <c:pt idx="4">
                  <c:v>19.23995</c:v>
                </c:pt>
                <c:pt idx="5">
                  <c:v>21.711020000000001</c:v>
                </c:pt>
                <c:pt idx="6">
                  <c:v>27.367000000000001</c:v>
                </c:pt>
                <c:pt idx="7">
                  <c:v>26.860250000000001</c:v>
                </c:pt>
                <c:pt idx="8">
                  <c:v>24.738679999999999</c:v>
                </c:pt>
                <c:pt idx="9">
                  <c:v>20.578510000000001</c:v>
                </c:pt>
                <c:pt idx="10">
                  <c:v>20.722429999999999</c:v>
                </c:pt>
                <c:pt idx="11">
                  <c:v>17.525040000000001</c:v>
                </c:pt>
                <c:pt idx="12">
                  <c:v>13.14879</c:v>
                </c:pt>
                <c:pt idx="13">
                  <c:v>8.7238980000000002</c:v>
                </c:pt>
                <c:pt idx="14">
                  <c:v>8.5365850000000005</c:v>
                </c:pt>
                <c:pt idx="15">
                  <c:v>4.8548549999999997</c:v>
                </c:pt>
                <c:pt idx="16">
                  <c:v>1.973073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5.01 - 31.01</c:v>
                </c:pt>
                <c:pt idx="1">
                  <c:v>01.02 - 07.02</c:v>
                </c:pt>
                <c:pt idx="2">
                  <c:v>08.02 - 14.02</c:v>
                </c:pt>
                <c:pt idx="3">
                  <c:v>15.02 - 21.02</c:v>
                </c:pt>
                <c:pt idx="4">
                  <c:v>22.02 - 28.02</c:v>
                </c:pt>
                <c:pt idx="5">
                  <c:v>01.03 - 07.03</c:v>
                </c:pt>
                <c:pt idx="6">
                  <c:v>08.03 - 14.03</c:v>
                </c:pt>
                <c:pt idx="7">
                  <c:v>15.03 - 21.03</c:v>
                </c:pt>
                <c:pt idx="8">
                  <c:v>22.03 - 28.03</c:v>
                </c:pt>
                <c:pt idx="9">
                  <c:v>29.03 - 04.04</c:v>
                </c:pt>
                <c:pt idx="10">
                  <c:v>05.04 - 11.04</c:v>
                </c:pt>
                <c:pt idx="11">
                  <c:v>12.04 - 18.04</c:v>
                </c:pt>
                <c:pt idx="12">
                  <c:v>19.04 - 25.04</c:v>
                </c:pt>
                <c:pt idx="13">
                  <c:v>26.04 - 02.05</c:v>
                </c:pt>
                <c:pt idx="14">
                  <c:v>03.05 - 09.05</c:v>
                </c:pt>
                <c:pt idx="15">
                  <c:v>10.05 - 16.05</c:v>
                </c:pt>
                <c:pt idx="16">
                  <c:v>17.05 - 23.05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7.0017</c:v>
                </c:pt>
                <c:pt idx="1">
                  <c:v>26.776599999999998</c:v>
                </c:pt>
                <c:pt idx="2">
                  <c:v>27.57864</c:v>
                </c:pt>
                <c:pt idx="3">
                  <c:v>26.55827</c:v>
                </c:pt>
                <c:pt idx="4">
                  <c:v>33.243459999999999</c:v>
                </c:pt>
                <c:pt idx="5">
                  <c:v>29.875720000000001</c:v>
                </c:pt>
                <c:pt idx="6">
                  <c:v>32.521410000000003</c:v>
                </c:pt>
                <c:pt idx="7">
                  <c:v>27.70083</c:v>
                </c:pt>
                <c:pt idx="8">
                  <c:v>25.028359999999999</c:v>
                </c:pt>
                <c:pt idx="9">
                  <c:v>19.585850000000001</c:v>
                </c:pt>
                <c:pt idx="10">
                  <c:v>17.76465</c:v>
                </c:pt>
                <c:pt idx="11">
                  <c:v>15.9894</c:v>
                </c:pt>
                <c:pt idx="12">
                  <c:v>13.78795</c:v>
                </c:pt>
                <c:pt idx="13">
                  <c:v>10.77122</c:v>
                </c:pt>
                <c:pt idx="14">
                  <c:v>6.1097260000000002</c:v>
                </c:pt>
                <c:pt idx="15">
                  <c:v>4.2923429999999998</c:v>
                </c:pt>
                <c:pt idx="16">
                  <c:v>1.703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8188008299010653E-3"/>
                  <c:y val="-0.12681972810501224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5.01 - 31.01</c:v>
                </c:pt>
                <c:pt idx="1">
                  <c:v>01.02 - 07.02</c:v>
                </c:pt>
                <c:pt idx="2">
                  <c:v>08.02 - 14.02</c:v>
                </c:pt>
                <c:pt idx="3">
                  <c:v>15.02 - 21.02</c:v>
                </c:pt>
                <c:pt idx="4">
                  <c:v>22.02 - 28.02</c:v>
                </c:pt>
                <c:pt idx="5">
                  <c:v>01.03 - 07.03</c:v>
                </c:pt>
                <c:pt idx="6">
                  <c:v>08.03 - 14.03</c:v>
                </c:pt>
                <c:pt idx="7">
                  <c:v>15.03 - 21.03</c:v>
                </c:pt>
                <c:pt idx="8">
                  <c:v>22.03 - 28.03</c:v>
                </c:pt>
                <c:pt idx="9">
                  <c:v>29.03 - 04.04</c:v>
                </c:pt>
                <c:pt idx="10">
                  <c:v>05.04 - 11.04</c:v>
                </c:pt>
                <c:pt idx="11">
                  <c:v>12.04 - 18.04</c:v>
                </c:pt>
                <c:pt idx="12">
                  <c:v>19.04 - 25.04</c:v>
                </c:pt>
                <c:pt idx="13">
                  <c:v>26.04 - 02.05</c:v>
                </c:pt>
                <c:pt idx="14">
                  <c:v>03.05 - 09.05</c:v>
                </c:pt>
                <c:pt idx="15">
                  <c:v>10.05 - 16.05</c:v>
                </c:pt>
                <c:pt idx="16">
                  <c:v>17.05 - 23.05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0.60313</c:v>
                </c:pt>
                <c:pt idx="1">
                  <c:v>22.64066</c:v>
                </c:pt>
                <c:pt idx="2">
                  <c:v>22.814589999999999</c:v>
                </c:pt>
                <c:pt idx="3">
                  <c:v>24.69989</c:v>
                </c:pt>
                <c:pt idx="4">
                  <c:v>25.869070000000001</c:v>
                </c:pt>
                <c:pt idx="5">
                  <c:v>28.528780000000001</c:v>
                </c:pt>
                <c:pt idx="6">
                  <c:v>37.353990000000003</c:v>
                </c:pt>
                <c:pt idx="7">
                  <c:v>38.190809999999999</c:v>
                </c:pt>
                <c:pt idx="8">
                  <c:v>37.825060000000001</c:v>
                </c:pt>
                <c:pt idx="9">
                  <c:v>34.739040000000003</c:v>
                </c:pt>
                <c:pt idx="10">
                  <c:v>32.356189999999998</c:v>
                </c:pt>
                <c:pt idx="11">
                  <c:v>28.682569999999998</c:v>
                </c:pt>
                <c:pt idx="12">
                  <c:v>25.857839999999999</c:v>
                </c:pt>
                <c:pt idx="13">
                  <c:v>24.20917</c:v>
                </c:pt>
                <c:pt idx="14">
                  <c:v>23.63776</c:v>
                </c:pt>
                <c:pt idx="15">
                  <c:v>19.409939999999999</c:v>
                </c:pt>
                <c:pt idx="16">
                  <c:v>12.51664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5.01 - 31.01</c:v>
                </c:pt>
                <c:pt idx="1">
                  <c:v>01.02 - 07.02</c:v>
                </c:pt>
                <c:pt idx="2">
                  <c:v>08.02 - 14.02</c:v>
                </c:pt>
                <c:pt idx="3">
                  <c:v>15.02 - 21.02</c:v>
                </c:pt>
                <c:pt idx="4">
                  <c:v>22.02 - 28.02</c:v>
                </c:pt>
                <c:pt idx="5">
                  <c:v>01.03 - 07.03</c:v>
                </c:pt>
                <c:pt idx="6">
                  <c:v>08.03 - 14.03</c:v>
                </c:pt>
                <c:pt idx="7">
                  <c:v>15.03 - 21.03</c:v>
                </c:pt>
                <c:pt idx="8">
                  <c:v>22.03 - 28.03</c:v>
                </c:pt>
                <c:pt idx="9">
                  <c:v>29.03 - 04.04</c:v>
                </c:pt>
                <c:pt idx="10">
                  <c:v>05.04 - 11.04</c:v>
                </c:pt>
                <c:pt idx="11">
                  <c:v>12.04 - 18.04</c:v>
                </c:pt>
                <c:pt idx="12">
                  <c:v>19.04 - 25.04</c:v>
                </c:pt>
                <c:pt idx="13">
                  <c:v>26.04 - 02.05</c:v>
                </c:pt>
                <c:pt idx="14">
                  <c:v>03.05 - 09.05</c:v>
                </c:pt>
                <c:pt idx="15">
                  <c:v>10.05 - 16.05</c:v>
                </c:pt>
                <c:pt idx="16">
                  <c:v>17.05 - 23.05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7.834299999999999</c:v>
                </c:pt>
                <c:pt idx="1">
                  <c:v>18.87706</c:v>
                </c:pt>
                <c:pt idx="2">
                  <c:v>19.48461</c:v>
                </c:pt>
                <c:pt idx="3">
                  <c:v>20.24823</c:v>
                </c:pt>
                <c:pt idx="4">
                  <c:v>20.479089999999999</c:v>
                </c:pt>
                <c:pt idx="5">
                  <c:v>22.525379999999998</c:v>
                </c:pt>
                <c:pt idx="6">
                  <c:v>29.54692</c:v>
                </c:pt>
                <c:pt idx="7">
                  <c:v>29.970389999999998</c:v>
                </c:pt>
                <c:pt idx="8">
                  <c:v>28.04269</c:v>
                </c:pt>
                <c:pt idx="9">
                  <c:v>26.02364</c:v>
                </c:pt>
                <c:pt idx="10">
                  <c:v>22.431819999999998</c:v>
                </c:pt>
                <c:pt idx="11">
                  <c:v>18.169889999999999</c:v>
                </c:pt>
                <c:pt idx="12">
                  <c:v>12.00149</c:v>
                </c:pt>
                <c:pt idx="13">
                  <c:v>8.2644629999999992</c:v>
                </c:pt>
                <c:pt idx="14">
                  <c:v>9.0746350000000007</c:v>
                </c:pt>
                <c:pt idx="15">
                  <c:v>5.6673239999999998</c:v>
                </c:pt>
                <c:pt idx="16">
                  <c:v>2.922855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5.01 - 31.01</c:v>
                </c:pt>
                <c:pt idx="1">
                  <c:v>01.02 - 07.02</c:v>
                </c:pt>
                <c:pt idx="2">
                  <c:v>08.02 - 14.02</c:v>
                </c:pt>
                <c:pt idx="3">
                  <c:v>15.02 - 21.02</c:v>
                </c:pt>
                <c:pt idx="4">
                  <c:v>22.02 - 28.02</c:v>
                </c:pt>
                <c:pt idx="5">
                  <c:v>01.03 - 07.03</c:v>
                </c:pt>
                <c:pt idx="6">
                  <c:v>08.03 - 14.03</c:v>
                </c:pt>
                <c:pt idx="7">
                  <c:v>15.03 - 21.03</c:v>
                </c:pt>
                <c:pt idx="8">
                  <c:v>22.03 - 28.03</c:v>
                </c:pt>
                <c:pt idx="9">
                  <c:v>29.03 - 04.04</c:v>
                </c:pt>
                <c:pt idx="10">
                  <c:v>05.04 - 11.04</c:v>
                </c:pt>
                <c:pt idx="11">
                  <c:v>12.04 - 18.04</c:v>
                </c:pt>
                <c:pt idx="12">
                  <c:v>19.04 - 25.04</c:v>
                </c:pt>
                <c:pt idx="13">
                  <c:v>26.04 - 02.05</c:v>
                </c:pt>
                <c:pt idx="14">
                  <c:v>03.05 - 09.05</c:v>
                </c:pt>
                <c:pt idx="15">
                  <c:v>10.05 - 16.05</c:v>
                </c:pt>
                <c:pt idx="16">
                  <c:v>17.05 - 23.05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6.622789999999998</c:v>
                </c:pt>
                <c:pt idx="1">
                  <c:v>26.657609999999998</c:v>
                </c:pt>
                <c:pt idx="2">
                  <c:v>27.560949999999998</c:v>
                </c:pt>
                <c:pt idx="3">
                  <c:v>30.206320000000002</c:v>
                </c:pt>
                <c:pt idx="4">
                  <c:v>30.540649999999999</c:v>
                </c:pt>
                <c:pt idx="5">
                  <c:v>29.928090000000001</c:v>
                </c:pt>
                <c:pt idx="6">
                  <c:v>29.355589999999999</c:v>
                </c:pt>
                <c:pt idx="7">
                  <c:v>27.386220000000002</c:v>
                </c:pt>
                <c:pt idx="8">
                  <c:v>23.848790000000001</c:v>
                </c:pt>
                <c:pt idx="9">
                  <c:v>22.012440000000002</c:v>
                </c:pt>
                <c:pt idx="10">
                  <c:v>18.363959999999999</c:v>
                </c:pt>
                <c:pt idx="11">
                  <c:v>16.239640000000001</c:v>
                </c:pt>
                <c:pt idx="12">
                  <c:v>12.03145</c:v>
                </c:pt>
                <c:pt idx="13">
                  <c:v>8.7218739999999997</c:v>
                </c:pt>
                <c:pt idx="14">
                  <c:v>6.9337280000000003</c:v>
                </c:pt>
                <c:pt idx="15">
                  <c:v>3.8812790000000001</c:v>
                </c:pt>
                <c:pt idx="16">
                  <c:v>1.866155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ČR</c:v>
                </c:pt>
                <c:pt idx="5">
                  <c:v>Olomoucký kraj</c:v>
                </c:pt>
                <c:pt idx="6">
                  <c:v>Pardubický kraj</c:v>
                </c:pt>
                <c:pt idx="7">
                  <c:v>Jihočeský kraj</c:v>
                </c:pt>
                <c:pt idx="8">
                  <c:v>Jihomoravský kraj</c:v>
                </c:pt>
                <c:pt idx="9">
                  <c:v>Hlavní město Praha</c:v>
                </c:pt>
                <c:pt idx="10">
                  <c:v>Kraj Vysočina</c:v>
                </c:pt>
                <c:pt idx="11">
                  <c:v>Plzeň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74.540896000000004</c:v>
                </c:pt>
                <c:pt idx="1">
                  <c:v>67.730602000000005</c:v>
                </c:pt>
                <c:pt idx="2">
                  <c:v>56.655335999999998</c:v>
                </c:pt>
                <c:pt idx="3">
                  <c:v>53.846342</c:v>
                </c:pt>
                <c:pt idx="4">
                  <c:v>38.253928999999999</c:v>
                </c:pt>
                <c:pt idx="5">
                  <c:v>36.622211</c:v>
                </c:pt>
                <c:pt idx="6">
                  <c:v>36.075035999999997</c:v>
                </c:pt>
                <c:pt idx="7">
                  <c:v>35.624164999999998</c:v>
                </c:pt>
                <c:pt idx="8">
                  <c:v>34.471389000000002</c:v>
                </c:pt>
                <c:pt idx="9">
                  <c:v>32.517681000000003</c:v>
                </c:pt>
                <c:pt idx="10">
                  <c:v>29.877502</c:v>
                </c:pt>
                <c:pt idx="11">
                  <c:v>29.590662999999999</c:v>
                </c:pt>
                <c:pt idx="12">
                  <c:v>25.078054999999999</c:v>
                </c:pt>
                <c:pt idx="13">
                  <c:v>14.333835000000001</c:v>
                </c:pt>
                <c:pt idx="14">
                  <c:v>7.2950102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ČR</c:v>
                </c:pt>
                <c:pt idx="5">
                  <c:v>Olomoucký kraj</c:v>
                </c:pt>
                <c:pt idx="6">
                  <c:v>Pardubický kraj</c:v>
                </c:pt>
                <c:pt idx="7">
                  <c:v>Jihočeský kraj</c:v>
                </c:pt>
                <c:pt idx="8">
                  <c:v>Jihomoravský kraj</c:v>
                </c:pt>
                <c:pt idx="9">
                  <c:v>Hlavní město Praha</c:v>
                </c:pt>
                <c:pt idx="10">
                  <c:v>Kraj Vysočina</c:v>
                </c:pt>
                <c:pt idx="11">
                  <c:v>Plzeň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04.94002846106901</c:v>
                </c:pt>
                <c:pt idx="1">
                  <c:v>292.08821910849503</c:v>
                </c:pt>
                <c:pt idx="2">
                  <c:v>226.62134239818701</c:v>
                </c:pt>
                <c:pt idx="3">
                  <c:v>369.58171182416697</c:v>
                </c:pt>
                <c:pt idx="4">
                  <c:v>248.38610730138799</c:v>
                </c:pt>
                <c:pt idx="5">
                  <c:v>177.007354960783</c:v>
                </c:pt>
                <c:pt idx="6">
                  <c:v>364.357864357864</c:v>
                </c:pt>
                <c:pt idx="7">
                  <c:v>282.024640047498</c:v>
                </c:pt>
                <c:pt idx="8">
                  <c:v>179.850723899163</c:v>
                </c:pt>
                <c:pt idx="9">
                  <c:v>222.204156843617</c:v>
                </c:pt>
                <c:pt idx="10">
                  <c:v>268.89752016731398</c:v>
                </c:pt>
                <c:pt idx="11">
                  <c:v>193.983231957915</c:v>
                </c:pt>
                <c:pt idx="12">
                  <c:v>295.92105428145101</c:v>
                </c:pt>
                <c:pt idx="13">
                  <c:v>172.00602021070699</c:v>
                </c:pt>
                <c:pt idx="14">
                  <c:v>72.950102130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ČR</c:v>
                </c:pt>
                <c:pt idx="5">
                  <c:v>Olomoucký kraj</c:v>
                </c:pt>
                <c:pt idx="6">
                  <c:v>Pardubický kraj</c:v>
                </c:pt>
                <c:pt idx="7">
                  <c:v>Jihočeský kraj</c:v>
                </c:pt>
                <c:pt idx="8">
                  <c:v>Jihomoravský kraj</c:v>
                </c:pt>
                <c:pt idx="9">
                  <c:v>Hlavní město Praha</c:v>
                </c:pt>
                <c:pt idx="10">
                  <c:v>Kraj Vysočina</c:v>
                </c:pt>
                <c:pt idx="11">
                  <c:v>Plzeň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59.246459307447</c:v>
                </c:pt>
                <c:pt idx="1">
                  <c:v>139.69436566058499</c:v>
                </c:pt>
                <c:pt idx="2">
                  <c:v>173.29867359861299</c:v>
                </c:pt>
                <c:pt idx="3">
                  <c:v>244.75610054580599</c:v>
                </c:pt>
                <c:pt idx="4">
                  <c:v>158.127990240841</c:v>
                </c:pt>
                <c:pt idx="5">
                  <c:v>167.85180211798399</c:v>
                </c:pt>
                <c:pt idx="6">
                  <c:v>151.51515151515099</c:v>
                </c:pt>
                <c:pt idx="7">
                  <c:v>255.30651625352499</c:v>
                </c:pt>
                <c:pt idx="8">
                  <c:v>152.87311531428901</c:v>
                </c:pt>
                <c:pt idx="9">
                  <c:v>157.16879386499701</c:v>
                </c:pt>
                <c:pt idx="10">
                  <c:v>224.08126680609499</c:v>
                </c:pt>
                <c:pt idx="11">
                  <c:v>69.044879171461005</c:v>
                </c:pt>
                <c:pt idx="12">
                  <c:v>125.390277237902</c:v>
                </c:pt>
                <c:pt idx="13">
                  <c:v>50.168422561455998</c:v>
                </c:pt>
                <c:pt idx="14">
                  <c:v>124.0151736212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ČR</c:v>
                </c:pt>
                <c:pt idx="5">
                  <c:v>Olomoucký kraj</c:v>
                </c:pt>
                <c:pt idx="6">
                  <c:v>Pardubický kraj</c:v>
                </c:pt>
                <c:pt idx="7">
                  <c:v>Jihočeský kraj</c:v>
                </c:pt>
                <c:pt idx="8">
                  <c:v>Jihomoravský kraj</c:v>
                </c:pt>
                <c:pt idx="9">
                  <c:v>Hlavní město Praha</c:v>
                </c:pt>
                <c:pt idx="10">
                  <c:v>Kraj Vysočina</c:v>
                </c:pt>
                <c:pt idx="11">
                  <c:v>Plzeň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55.85823676899</c:v>
                </c:pt>
                <c:pt idx="1">
                  <c:v>42.331625957752998</c:v>
                </c:pt>
                <c:pt idx="2">
                  <c:v>111.644337799106</c:v>
                </c:pt>
                <c:pt idx="3">
                  <c:v>163.98658736569001</c:v>
                </c:pt>
                <c:pt idx="4">
                  <c:v>94.841537067527</c:v>
                </c:pt>
                <c:pt idx="5">
                  <c:v>82.399975585191996</c:v>
                </c:pt>
                <c:pt idx="6">
                  <c:v>72.150072150072006</c:v>
                </c:pt>
                <c:pt idx="7">
                  <c:v>145.46534065607801</c:v>
                </c:pt>
                <c:pt idx="8">
                  <c:v>91.424117982073994</c:v>
                </c:pt>
                <c:pt idx="9">
                  <c:v>75.874590141721995</c:v>
                </c:pt>
                <c:pt idx="10">
                  <c:v>134.44876008365699</c:v>
                </c:pt>
                <c:pt idx="11">
                  <c:v>55.893473614991997</c:v>
                </c:pt>
                <c:pt idx="12">
                  <c:v>82.757582977015005</c:v>
                </c:pt>
                <c:pt idx="13">
                  <c:v>50.168422561455998</c:v>
                </c:pt>
                <c:pt idx="14">
                  <c:v>14.590020426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F2-4B90-B8EF-7C911D5510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23.05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Ústecký kraj</c:v>
                </c:pt>
                <c:pt idx="4">
                  <c:v>ČR</c:v>
                </c:pt>
                <c:pt idx="5">
                  <c:v>Olomoucký kraj</c:v>
                </c:pt>
                <c:pt idx="6">
                  <c:v>Pardubický kraj</c:v>
                </c:pt>
                <c:pt idx="7">
                  <c:v>Jihočeský kraj</c:v>
                </c:pt>
                <c:pt idx="8">
                  <c:v>Jihomoravský kraj</c:v>
                </c:pt>
                <c:pt idx="9">
                  <c:v>Hlavní město Praha</c:v>
                </c:pt>
                <c:pt idx="10">
                  <c:v>Kraj Vysočina</c:v>
                </c:pt>
                <c:pt idx="11">
                  <c:v>Plzeň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74.540895846039007</c:v>
                </c:pt>
                <c:pt idx="1">
                  <c:v>67.730601532403995</c:v>
                </c:pt>
                <c:pt idx="2">
                  <c:v>56.655335599546</c:v>
                </c:pt>
                <c:pt idx="3">
                  <c:v>53.846342120076997</c:v>
                </c:pt>
                <c:pt idx="4">
                  <c:v>38.253928519802002</c:v>
                </c:pt>
                <c:pt idx="5">
                  <c:v>36.622211371196002</c:v>
                </c:pt>
                <c:pt idx="6">
                  <c:v>36.075036075036003</c:v>
                </c:pt>
                <c:pt idx="7">
                  <c:v>35.624165058631</c:v>
                </c:pt>
                <c:pt idx="8">
                  <c:v>34.471388747338999</c:v>
                </c:pt>
                <c:pt idx="9">
                  <c:v>32.517681489308998</c:v>
                </c:pt>
                <c:pt idx="10">
                  <c:v>29.877502240811999</c:v>
                </c:pt>
                <c:pt idx="11">
                  <c:v>29.590662502053998</c:v>
                </c:pt>
                <c:pt idx="12">
                  <c:v>25.078055447579999</c:v>
                </c:pt>
                <c:pt idx="13">
                  <c:v>14.333835017558</c:v>
                </c:pt>
                <c:pt idx="14">
                  <c:v>7.295010213013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Moravskoslez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365.01306971464589</c:v>
                </c:pt>
                <c:pt idx="1">
                  <c:v>302.80827005266445</c:v>
                </c:pt>
                <c:pt idx="2">
                  <c:v>301.88609647276985</c:v>
                </c:pt>
                <c:pt idx="3">
                  <c:v>378.00733379497893</c:v>
                </c:pt>
                <c:pt idx="4">
                  <c:v>477.51824646178756</c:v>
                </c:pt>
                <c:pt idx="5">
                  <c:v>505.43495574405148</c:v>
                </c:pt>
                <c:pt idx="6">
                  <c:v>474.33255591306073</c:v>
                </c:pt>
                <c:pt idx="7">
                  <c:v>494.62037467074202</c:v>
                </c:pt>
                <c:pt idx="8">
                  <c:v>417.40929584502112</c:v>
                </c:pt>
                <c:pt idx="9">
                  <c:v>326.95245105354132</c:v>
                </c:pt>
                <c:pt idx="10">
                  <c:v>288.05349277435079</c:v>
                </c:pt>
                <c:pt idx="11">
                  <c:v>242.28014962685498</c:v>
                </c:pt>
                <c:pt idx="12">
                  <c:v>197.6804819446796</c:v>
                </c:pt>
                <c:pt idx="13">
                  <c:v>163.64389345038788</c:v>
                </c:pt>
                <c:pt idx="14">
                  <c:v>133.37983323748315</c:v>
                </c:pt>
                <c:pt idx="15">
                  <c:v>107.64280696224284</c:v>
                </c:pt>
                <c:pt idx="16">
                  <c:v>65.809660019751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9C-43DD-9A9E-6C52C0B1B1BF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9C-43DD-9A9E-6C52C0B1B1BF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9C-43DD-9A9E-6C52C0B1B1BF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9C-43DD-9A9E-6C52C0B1B1BF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9C-43DD-9A9E-6C52C0B1B1BF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40.9174289466132</c:v>
                </c:pt>
                <c:pt idx="1">
                  <c:v>468.67917356154953</c:v>
                </c:pt>
                <c:pt idx="2">
                  <c:v>495.59993634701965</c:v>
                </c:pt>
                <c:pt idx="3">
                  <c:v>608.30084573804879</c:v>
                </c:pt>
                <c:pt idx="4">
                  <c:v>769.0498503192506</c:v>
                </c:pt>
                <c:pt idx="5">
                  <c:v>802.46486167671014</c:v>
                </c:pt>
                <c:pt idx="6">
                  <c:v>725.99158065057782</c:v>
                </c:pt>
                <c:pt idx="7">
                  <c:v>615.35574886301583</c:v>
                </c:pt>
                <c:pt idx="8">
                  <c:v>467.70737233638852</c:v>
                </c:pt>
                <c:pt idx="9">
                  <c:v>343.99894522190095</c:v>
                </c:pt>
                <c:pt idx="10">
                  <c:v>264.27386778849899</c:v>
                </c:pt>
                <c:pt idx="11">
                  <c:v>202.25612998663675</c:v>
                </c:pt>
                <c:pt idx="12">
                  <c:v>163.29998279724944</c:v>
                </c:pt>
                <c:pt idx="13">
                  <c:v>137.30430002419223</c:v>
                </c:pt>
                <c:pt idx="14">
                  <c:v>102.30076743329634</c:v>
                </c:pt>
                <c:pt idx="15">
                  <c:v>72.44591248724393</c:v>
                </c:pt>
                <c:pt idx="16">
                  <c:v>47.216457603255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9C-43DD-9A9E-6C52C0B1B1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Olomoucký kraj</c:v>
                </c:pt>
                <c:pt idx="3">
                  <c:v>Moravskoslezský kraj</c:v>
                </c:pt>
                <c:pt idx="4">
                  <c:v>Hlavní město Praha</c:v>
                </c:pt>
                <c:pt idx="5">
                  <c:v>Zlíns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Jihomoravský kraj</c:v>
                </c:pt>
                <c:pt idx="12">
                  <c:v>Pardubický kraj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98.918214000000006</c:v>
                </c:pt>
                <c:pt idx="1">
                  <c:v>97.549440000000004</c:v>
                </c:pt>
                <c:pt idx="2">
                  <c:v>87.483322999999999</c:v>
                </c:pt>
                <c:pt idx="3">
                  <c:v>83.932287000000002</c:v>
                </c:pt>
                <c:pt idx="4">
                  <c:v>72.288431000000003</c:v>
                </c:pt>
                <c:pt idx="5">
                  <c:v>68.948535000000007</c:v>
                </c:pt>
                <c:pt idx="6">
                  <c:v>67.942740999999998</c:v>
                </c:pt>
                <c:pt idx="7">
                  <c:v>63.512464000000001</c:v>
                </c:pt>
                <c:pt idx="8">
                  <c:v>62.048921</c:v>
                </c:pt>
                <c:pt idx="9">
                  <c:v>54.805031</c:v>
                </c:pt>
                <c:pt idx="10">
                  <c:v>52.716135999999999</c:v>
                </c:pt>
                <c:pt idx="11">
                  <c:v>51.552745999999999</c:v>
                </c:pt>
                <c:pt idx="12">
                  <c:v>36.247832000000002</c:v>
                </c:pt>
                <c:pt idx="13">
                  <c:v>36.085934999999999</c:v>
                </c:pt>
                <c:pt idx="14">
                  <c:v>28.974309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Olomoucký kraj</c:v>
                </c:pt>
                <c:pt idx="3">
                  <c:v>Moravskoslezský kraj</c:v>
                </c:pt>
                <c:pt idx="4">
                  <c:v>Hlavní město Praha</c:v>
                </c:pt>
                <c:pt idx="5">
                  <c:v>Zlíns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Jihomoravský kraj</c:v>
                </c:pt>
                <c:pt idx="12">
                  <c:v>Pardubický kraj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441.97500000000002</c:v>
                </c:pt>
                <c:pt idx="1">
                  <c:v>384.28566999999998</c:v>
                </c:pt>
                <c:pt idx="2">
                  <c:v>310.56580000000002</c:v>
                </c:pt>
                <c:pt idx="3">
                  <c:v>286.07906000000003</c:v>
                </c:pt>
                <c:pt idx="4">
                  <c:v>255.01751999999999</c:v>
                </c:pt>
                <c:pt idx="5">
                  <c:v>327.50554</c:v>
                </c:pt>
                <c:pt idx="6">
                  <c:v>318.62803000000002</c:v>
                </c:pt>
                <c:pt idx="7">
                  <c:v>328.68950999999998</c:v>
                </c:pt>
                <c:pt idx="8">
                  <c:v>463.73403999999999</c:v>
                </c:pt>
                <c:pt idx="9">
                  <c:v>443.92075</c:v>
                </c:pt>
                <c:pt idx="10">
                  <c:v>225.9263</c:v>
                </c:pt>
                <c:pt idx="11">
                  <c:v>288.02294999999998</c:v>
                </c:pt>
                <c:pt idx="12">
                  <c:v>396.13702000000001</c:v>
                </c:pt>
                <c:pt idx="13">
                  <c:v>349.11043999999998</c:v>
                </c:pt>
                <c:pt idx="14">
                  <c:v>96.581030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Olomoucký kraj</c:v>
                </c:pt>
                <c:pt idx="3">
                  <c:v>Moravskoslezský kraj</c:v>
                </c:pt>
                <c:pt idx="4">
                  <c:v>Hlavní město Praha</c:v>
                </c:pt>
                <c:pt idx="5">
                  <c:v>Zlíns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Jihomoravský kraj</c:v>
                </c:pt>
                <c:pt idx="12">
                  <c:v>Pardubický kraj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45.16143</c:v>
                </c:pt>
                <c:pt idx="1">
                  <c:v>224.65932000000001</c:v>
                </c:pt>
                <c:pt idx="2">
                  <c:v>251.51455999999999</c:v>
                </c:pt>
                <c:pt idx="3">
                  <c:v>235.24682999999999</c:v>
                </c:pt>
                <c:pt idx="4">
                  <c:v>159.63695000000001</c:v>
                </c:pt>
                <c:pt idx="5">
                  <c:v>312.73084999999998</c:v>
                </c:pt>
                <c:pt idx="6">
                  <c:v>156.97116</c:v>
                </c:pt>
                <c:pt idx="7">
                  <c:v>225.79431</c:v>
                </c:pt>
                <c:pt idx="8">
                  <c:v>262.89148</c:v>
                </c:pt>
                <c:pt idx="9">
                  <c:v>350.75220000000002</c:v>
                </c:pt>
                <c:pt idx="10">
                  <c:v>100.41168999999999</c:v>
                </c:pt>
                <c:pt idx="11">
                  <c:v>209.57311999999999</c:v>
                </c:pt>
                <c:pt idx="12">
                  <c:v>346.94353000000001</c:v>
                </c:pt>
                <c:pt idx="13">
                  <c:v>192.17858000000001</c:v>
                </c:pt>
                <c:pt idx="14">
                  <c:v>96.581030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Olomoucký kraj</c:v>
                </c:pt>
                <c:pt idx="3">
                  <c:v>Moravskoslezský kraj</c:v>
                </c:pt>
                <c:pt idx="4">
                  <c:v>Hlavní město Praha</c:v>
                </c:pt>
                <c:pt idx="5">
                  <c:v>Zlíns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Jihomoravský kraj</c:v>
                </c:pt>
                <c:pt idx="12">
                  <c:v>Pardubický kraj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12.56892999999999</c:v>
                </c:pt>
                <c:pt idx="1">
                  <c:v>94.593395999999998</c:v>
                </c:pt>
                <c:pt idx="2">
                  <c:v>131.22498999999999</c:v>
                </c:pt>
                <c:pt idx="3">
                  <c:v>189.14318</c:v>
                </c:pt>
                <c:pt idx="4">
                  <c:v>117.4687</c:v>
                </c:pt>
                <c:pt idx="5">
                  <c:v>216.69540000000001</c:v>
                </c:pt>
                <c:pt idx="6">
                  <c:v>74.971299999999999</c:v>
                </c:pt>
                <c:pt idx="7">
                  <c:v>146.77880999999999</c:v>
                </c:pt>
                <c:pt idx="8">
                  <c:v>189.41248999999999</c:v>
                </c:pt>
                <c:pt idx="9">
                  <c:v>189.07736</c:v>
                </c:pt>
                <c:pt idx="10">
                  <c:v>47.695551999999999</c:v>
                </c:pt>
                <c:pt idx="11">
                  <c:v>187.15888000000001</c:v>
                </c:pt>
                <c:pt idx="12">
                  <c:v>150.16959</c:v>
                </c:pt>
                <c:pt idx="13">
                  <c:v>125.88117</c:v>
                </c:pt>
                <c:pt idx="14">
                  <c:v>24.145257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23.05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Olomoucký kraj</c:v>
                </c:pt>
                <c:pt idx="3">
                  <c:v>Moravskoslezský kraj</c:v>
                </c:pt>
                <c:pt idx="4">
                  <c:v>Hlavní město Praha</c:v>
                </c:pt>
                <c:pt idx="5">
                  <c:v>Zlíns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Jihomoravský kraj</c:v>
                </c:pt>
                <c:pt idx="12">
                  <c:v>Pardubický kraj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98.918214000000006</c:v>
                </c:pt>
                <c:pt idx="1">
                  <c:v>97.549440000000004</c:v>
                </c:pt>
                <c:pt idx="2">
                  <c:v>87.483322999999999</c:v>
                </c:pt>
                <c:pt idx="3">
                  <c:v>83.932287000000002</c:v>
                </c:pt>
                <c:pt idx="4">
                  <c:v>72.288431000000003</c:v>
                </c:pt>
                <c:pt idx="5">
                  <c:v>68.948535000000007</c:v>
                </c:pt>
                <c:pt idx="6">
                  <c:v>67.942740999999998</c:v>
                </c:pt>
                <c:pt idx="7">
                  <c:v>63.512464000000001</c:v>
                </c:pt>
                <c:pt idx="8">
                  <c:v>62.048921</c:v>
                </c:pt>
                <c:pt idx="9">
                  <c:v>54.805031</c:v>
                </c:pt>
                <c:pt idx="10">
                  <c:v>52.716135999999999</c:v>
                </c:pt>
                <c:pt idx="11">
                  <c:v>51.552745999999999</c:v>
                </c:pt>
                <c:pt idx="12">
                  <c:v>36.247832000000002</c:v>
                </c:pt>
                <c:pt idx="13">
                  <c:v>36.085934999999999</c:v>
                </c:pt>
                <c:pt idx="14">
                  <c:v>28.974309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Olomoucký kraj</c:v>
                </c:pt>
                <c:pt idx="2">
                  <c:v>Zlínský kraj</c:v>
                </c:pt>
                <c:pt idx="3">
                  <c:v>Kraj Vysočina</c:v>
                </c:pt>
                <c:pt idx="4">
                  <c:v>Jihočes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Jihomoravský kraj</c:v>
                </c:pt>
                <c:pt idx="9">
                  <c:v>Liberecký kraj</c:v>
                </c:pt>
                <c:pt idx="10">
                  <c:v>Středočes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85.034013999999999</c:v>
                </c:pt>
                <c:pt idx="1">
                  <c:v>73.906876999999994</c:v>
                </c:pt>
                <c:pt idx="2">
                  <c:v>72.862157999999994</c:v>
                </c:pt>
                <c:pt idx="3">
                  <c:v>71.746660000000006</c:v>
                </c:pt>
                <c:pt idx="4">
                  <c:v>70.104377999999997</c:v>
                </c:pt>
                <c:pt idx="5">
                  <c:v>69.951034000000007</c:v>
                </c:pt>
                <c:pt idx="6">
                  <c:v>59.661766</c:v>
                </c:pt>
                <c:pt idx="7">
                  <c:v>58.923017999999999</c:v>
                </c:pt>
                <c:pt idx="8">
                  <c:v>56.592467999999997</c:v>
                </c:pt>
                <c:pt idx="9">
                  <c:v>52.538435999999997</c:v>
                </c:pt>
                <c:pt idx="10">
                  <c:v>49.349522</c:v>
                </c:pt>
                <c:pt idx="11">
                  <c:v>48.232920999999997</c:v>
                </c:pt>
                <c:pt idx="12">
                  <c:v>40.847709999999999</c:v>
                </c:pt>
                <c:pt idx="13">
                  <c:v>37.693178000000003</c:v>
                </c:pt>
                <c:pt idx="14">
                  <c:v>18.1438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Olomoucký kraj</c:v>
                </c:pt>
                <c:pt idx="2">
                  <c:v>Zlínský kraj</c:v>
                </c:pt>
                <c:pt idx="3">
                  <c:v>Kraj Vysočina</c:v>
                </c:pt>
                <c:pt idx="4">
                  <c:v>Jihočes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Jihomoravský kraj</c:v>
                </c:pt>
                <c:pt idx="9">
                  <c:v>Liberecký kraj</c:v>
                </c:pt>
                <c:pt idx="10">
                  <c:v>Středočes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41.18585999999999</c:v>
                </c:pt>
                <c:pt idx="1">
                  <c:v>449.43371000000002</c:v>
                </c:pt>
                <c:pt idx="2">
                  <c:v>355.47901000000002</c:v>
                </c:pt>
                <c:pt idx="3">
                  <c:v>482.43444</c:v>
                </c:pt>
                <c:pt idx="4">
                  <c:v>537.46690000000001</c:v>
                </c:pt>
                <c:pt idx="5">
                  <c:v>612.42844000000002</c:v>
                </c:pt>
                <c:pt idx="6">
                  <c:v>411.70177000000001</c:v>
                </c:pt>
                <c:pt idx="7">
                  <c:v>340.44409999999999</c:v>
                </c:pt>
                <c:pt idx="8">
                  <c:v>346.21274</c:v>
                </c:pt>
                <c:pt idx="9">
                  <c:v>522.61918000000003</c:v>
                </c:pt>
                <c:pt idx="10">
                  <c:v>451.80338</c:v>
                </c:pt>
                <c:pt idx="11">
                  <c:v>339.82285000000002</c:v>
                </c:pt>
                <c:pt idx="12">
                  <c:v>521.40900999999997</c:v>
                </c:pt>
                <c:pt idx="13">
                  <c:v>113.07953000000001</c:v>
                </c:pt>
                <c:pt idx="14">
                  <c:v>265.35426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Olomoucký kraj</c:v>
                </c:pt>
                <c:pt idx="2">
                  <c:v>Zlínský kraj</c:v>
                </c:pt>
                <c:pt idx="3">
                  <c:v>Kraj Vysočina</c:v>
                </c:pt>
                <c:pt idx="4">
                  <c:v>Jihočes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Jihomoravský kraj</c:v>
                </c:pt>
                <c:pt idx="9">
                  <c:v>Liberecký kraj</c:v>
                </c:pt>
                <c:pt idx="10">
                  <c:v>Středočes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93.94474000000002</c:v>
                </c:pt>
                <c:pt idx="1">
                  <c:v>335.57717000000002</c:v>
                </c:pt>
                <c:pt idx="2">
                  <c:v>357.68696</c:v>
                </c:pt>
                <c:pt idx="3">
                  <c:v>452.74617000000001</c:v>
                </c:pt>
                <c:pt idx="4">
                  <c:v>368.04798</c:v>
                </c:pt>
                <c:pt idx="5">
                  <c:v>362.60332</c:v>
                </c:pt>
                <c:pt idx="6">
                  <c:v>289.17572000000001</c:v>
                </c:pt>
                <c:pt idx="7">
                  <c:v>200.77473000000001</c:v>
                </c:pt>
                <c:pt idx="8">
                  <c:v>250.78231</c:v>
                </c:pt>
                <c:pt idx="9">
                  <c:v>345.64760999999999</c:v>
                </c:pt>
                <c:pt idx="10">
                  <c:v>265.46640000000002</c:v>
                </c:pt>
                <c:pt idx="11">
                  <c:v>197.31649999999999</c:v>
                </c:pt>
                <c:pt idx="12">
                  <c:v>391.65746000000001</c:v>
                </c:pt>
                <c:pt idx="13">
                  <c:v>129.83206000000001</c:v>
                </c:pt>
                <c:pt idx="14">
                  <c:v>161.026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Olomoucký kraj</c:v>
                </c:pt>
                <c:pt idx="2">
                  <c:v>Zlínský kraj</c:v>
                </c:pt>
                <c:pt idx="3">
                  <c:v>Kraj Vysočina</c:v>
                </c:pt>
                <c:pt idx="4">
                  <c:v>Jihočes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Jihomoravský kraj</c:v>
                </c:pt>
                <c:pt idx="9">
                  <c:v>Liberecký kraj</c:v>
                </c:pt>
                <c:pt idx="10">
                  <c:v>Středočes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49.07196999999999</c:v>
                </c:pt>
                <c:pt idx="1">
                  <c:v>155.80368999999999</c:v>
                </c:pt>
                <c:pt idx="2">
                  <c:v>223.00236000000001</c:v>
                </c:pt>
                <c:pt idx="3">
                  <c:v>239.98021</c:v>
                </c:pt>
                <c:pt idx="4">
                  <c:v>200.57641000000001</c:v>
                </c:pt>
                <c:pt idx="5">
                  <c:v>209.85310000000001</c:v>
                </c:pt>
                <c:pt idx="6">
                  <c:v>148.50205</c:v>
                </c:pt>
                <c:pt idx="7">
                  <c:v>105.8432</c:v>
                </c:pt>
                <c:pt idx="8">
                  <c:v>175.32568000000001</c:v>
                </c:pt>
                <c:pt idx="9">
                  <c:v>116.13760000000001</c:v>
                </c:pt>
                <c:pt idx="10">
                  <c:v>124.22466</c:v>
                </c:pt>
                <c:pt idx="11">
                  <c:v>98.658248</c:v>
                </c:pt>
                <c:pt idx="12">
                  <c:v>153.77960999999999</c:v>
                </c:pt>
                <c:pt idx="13">
                  <c:v>58.633831999999998</c:v>
                </c:pt>
                <c:pt idx="14">
                  <c:v>40.8237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23.05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Olomoucký kraj</c:v>
                </c:pt>
                <c:pt idx="2">
                  <c:v>Zlínský kraj</c:v>
                </c:pt>
                <c:pt idx="3">
                  <c:v>Kraj Vysočina</c:v>
                </c:pt>
                <c:pt idx="4">
                  <c:v>Jihočes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Jihomoravský kraj</c:v>
                </c:pt>
                <c:pt idx="9">
                  <c:v>Liberecký kraj</c:v>
                </c:pt>
                <c:pt idx="10">
                  <c:v>Středočes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85.034013999999999</c:v>
                </c:pt>
                <c:pt idx="1">
                  <c:v>73.906876999999994</c:v>
                </c:pt>
                <c:pt idx="2">
                  <c:v>72.862157999999994</c:v>
                </c:pt>
                <c:pt idx="3">
                  <c:v>71.746660000000006</c:v>
                </c:pt>
                <c:pt idx="4">
                  <c:v>70.104377999999997</c:v>
                </c:pt>
                <c:pt idx="5">
                  <c:v>69.951034000000007</c:v>
                </c:pt>
                <c:pt idx="6">
                  <c:v>59.661766</c:v>
                </c:pt>
                <c:pt idx="7">
                  <c:v>58.923017999999999</c:v>
                </c:pt>
                <c:pt idx="8">
                  <c:v>56.592467999999997</c:v>
                </c:pt>
                <c:pt idx="9">
                  <c:v>52.538435999999997</c:v>
                </c:pt>
                <c:pt idx="10">
                  <c:v>49.349522</c:v>
                </c:pt>
                <c:pt idx="11">
                  <c:v>48.232920999999997</c:v>
                </c:pt>
                <c:pt idx="12">
                  <c:v>40.847709999999999</c:v>
                </c:pt>
                <c:pt idx="13">
                  <c:v>37.693178000000003</c:v>
                </c:pt>
                <c:pt idx="14">
                  <c:v>18.1438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Jihoče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359.87823808835651</c:v>
                </c:pt>
                <c:pt idx="1">
                  <c:v>375.57240995663113</c:v>
                </c:pt>
                <c:pt idx="2">
                  <c:v>389.71270342210624</c:v>
                </c:pt>
                <c:pt idx="3">
                  <c:v>470.04821684683867</c:v>
                </c:pt>
                <c:pt idx="4">
                  <c:v>665.99228343985146</c:v>
                </c:pt>
                <c:pt idx="5">
                  <c:v>824.79865620595695</c:v>
                </c:pt>
                <c:pt idx="6">
                  <c:v>847.64066872710907</c:v>
                </c:pt>
                <c:pt idx="7">
                  <c:v>808.01676945572274</c:v>
                </c:pt>
                <c:pt idx="8">
                  <c:v>619.22054351558745</c:v>
                </c:pt>
                <c:pt idx="9">
                  <c:v>429.02582701293278</c:v>
                </c:pt>
                <c:pt idx="10">
                  <c:v>365.62758817871452</c:v>
                </c:pt>
                <c:pt idx="11">
                  <c:v>256.7007121424719</c:v>
                </c:pt>
                <c:pt idx="12">
                  <c:v>234.79102666299943</c:v>
                </c:pt>
                <c:pt idx="13">
                  <c:v>195.94406659301276</c:v>
                </c:pt>
                <c:pt idx="14">
                  <c:v>152.90163483546752</c:v>
                </c:pt>
                <c:pt idx="15">
                  <c:v>98.515890737486188</c:v>
                </c:pt>
                <c:pt idx="16">
                  <c:v>59.668930667499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089-4769-81D7-5C13A5191361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089-4769-81D7-5C13A5191361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089-4769-81D7-5C13A5191361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089-4769-81D7-5C13A5191361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089-4769-81D7-5C13A5191361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4.1 - 30.1</c:v>
                </c:pt>
                <c:pt idx="1">
                  <c:v>31.1 - 6.2</c:v>
                </c:pt>
                <c:pt idx="2">
                  <c:v>7.2 - 13.2</c:v>
                </c:pt>
                <c:pt idx="3">
                  <c:v>14.2 - 20.2</c:v>
                </c:pt>
                <c:pt idx="4">
                  <c:v>21.2 - 27.2</c:v>
                </c:pt>
                <c:pt idx="5">
                  <c:v>28.2 - 6.3</c:v>
                </c:pt>
                <c:pt idx="6">
                  <c:v>7.3 - 13.3</c:v>
                </c:pt>
                <c:pt idx="7">
                  <c:v>14.3 - 20.3</c:v>
                </c:pt>
                <c:pt idx="8">
                  <c:v>21.3 - 27.3</c:v>
                </c:pt>
                <c:pt idx="9">
                  <c:v>28.3 - 3.4</c:v>
                </c:pt>
                <c:pt idx="10">
                  <c:v>4.4 - 10.4</c:v>
                </c:pt>
                <c:pt idx="11">
                  <c:v>11.4 - 17.4</c:v>
                </c:pt>
                <c:pt idx="12">
                  <c:v>18.4 - 24.4</c:v>
                </c:pt>
                <c:pt idx="13">
                  <c:v>25.4 - 1.5</c:v>
                </c:pt>
                <c:pt idx="14">
                  <c:v>2.5 - 8.5</c:v>
                </c:pt>
                <c:pt idx="15">
                  <c:v>9.5 - 15.5</c:v>
                </c:pt>
                <c:pt idx="16">
                  <c:v>16.5 - 22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40.9174289466132</c:v>
                </c:pt>
                <c:pt idx="1">
                  <c:v>468.67917356154953</c:v>
                </c:pt>
                <c:pt idx="2">
                  <c:v>495.59993634701965</c:v>
                </c:pt>
                <c:pt idx="3">
                  <c:v>608.30084573804879</c:v>
                </c:pt>
                <c:pt idx="4">
                  <c:v>769.0498503192506</c:v>
                </c:pt>
                <c:pt idx="5">
                  <c:v>802.46486167671014</c:v>
                </c:pt>
                <c:pt idx="6">
                  <c:v>725.99158065057782</c:v>
                </c:pt>
                <c:pt idx="7">
                  <c:v>615.35574886301583</c:v>
                </c:pt>
                <c:pt idx="8">
                  <c:v>467.70737233638852</c:v>
                </c:pt>
                <c:pt idx="9">
                  <c:v>343.99894522190095</c:v>
                </c:pt>
                <c:pt idx="10">
                  <c:v>264.27386778849899</c:v>
                </c:pt>
                <c:pt idx="11">
                  <c:v>202.25612998663675</c:v>
                </c:pt>
                <c:pt idx="12">
                  <c:v>163.29998279724944</c:v>
                </c:pt>
                <c:pt idx="13">
                  <c:v>137.30430002419223</c:v>
                </c:pt>
                <c:pt idx="14">
                  <c:v>102.30076743329634</c:v>
                </c:pt>
                <c:pt idx="15">
                  <c:v>72.44591248724393</c:v>
                </c:pt>
                <c:pt idx="16">
                  <c:v>47.216457603255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089-4769-81D7-5C13A51913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B4-4B82-8A69-E8EE655F407B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Olomoucký kraj</c:v>
                </c:pt>
                <c:pt idx="2">
                  <c:v>Plzeňský kraj</c:v>
                </c:pt>
                <c:pt idx="3">
                  <c:v>Hlavní město Praha</c:v>
                </c:pt>
                <c:pt idx="4">
                  <c:v>Královéhradec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Moravskoslezský kraj</c:v>
                </c:pt>
                <c:pt idx="8">
                  <c:v>Pardubický kraj</c:v>
                </c:pt>
                <c:pt idx="9">
                  <c:v>Zlínský kraj</c:v>
                </c:pt>
                <c:pt idx="10">
                  <c:v>Jihočeský kraj</c:v>
                </c:pt>
                <c:pt idx="11">
                  <c:v>Ústecký kraj</c:v>
                </c:pt>
                <c:pt idx="12">
                  <c:v>Kraj Vysočina</c:v>
                </c:pt>
                <c:pt idx="13">
                  <c:v>Středoče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90492957746400005</c:v>
                </c:pt>
                <c:pt idx="1">
                  <c:v>0.89647577092499997</c:v>
                </c:pt>
                <c:pt idx="2">
                  <c:v>0.87962962962900004</c:v>
                </c:pt>
                <c:pt idx="3">
                  <c:v>0.80327868852399997</c:v>
                </c:pt>
                <c:pt idx="4">
                  <c:v>0.73124999999999996</c:v>
                </c:pt>
                <c:pt idx="5">
                  <c:v>0.70080552359000003</c:v>
                </c:pt>
                <c:pt idx="6">
                  <c:v>0.70063782584500001</c:v>
                </c:pt>
                <c:pt idx="7">
                  <c:v>0.69162995594700005</c:v>
                </c:pt>
                <c:pt idx="8">
                  <c:v>0.68679245283000001</c:v>
                </c:pt>
                <c:pt idx="9">
                  <c:v>0.674496644295</c:v>
                </c:pt>
                <c:pt idx="10">
                  <c:v>0.65529010238899998</c:v>
                </c:pt>
                <c:pt idx="11">
                  <c:v>0.62134251290800002</c:v>
                </c:pt>
                <c:pt idx="12">
                  <c:v>0.58520179372100001</c:v>
                </c:pt>
                <c:pt idx="13">
                  <c:v>0.56499999999999995</c:v>
                </c:pt>
                <c:pt idx="14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Jihomoravský kraj</c:v>
                </c:pt>
                <c:pt idx="5">
                  <c:v>Zlínský kraj</c:v>
                </c:pt>
                <c:pt idx="6">
                  <c:v>Kraj Vysočina</c:v>
                </c:pt>
                <c:pt idx="7">
                  <c:v>Moravskoslezs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239261901069</c:v>
                </c:pt>
                <c:pt idx="1">
                  <c:v>0.26192946058</c:v>
                </c:pt>
                <c:pt idx="2">
                  <c:v>0.20394530842200001</c:v>
                </c:pt>
                <c:pt idx="3">
                  <c:v>0.21386882975499999</c:v>
                </c:pt>
                <c:pt idx="4">
                  <c:v>0.19858951755000001</c:v>
                </c:pt>
                <c:pt idx="5">
                  <c:v>0.13695922286199999</c:v>
                </c:pt>
                <c:pt idx="6">
                  <c:v>0.21105718185899999</c:v>
                </c:pt>
                <c:pt idx="7">
                  <c:v>0.147904547858</c:v>
                </c:pt>
                <c:pt idx="8">
                  <c:v>0.17744312008099999</c:v>
                </c:pt>
                <c:pt idx="9">
                  <c:v>0.19288306629999999</c:v>
                </c:pt>
                <c:pt idx="10">
                  <c:v>0.168860420919</c:v>
                </c:pt>
                <c:pt idx="11">
                  <c:v>0.193624796968</c:v>
                </c:pt>
                <c:pt idx="12">
                  <c:v>0.128173422466</c:v>
                </c:pt>
                <c:pt idx="13">
                  <c:v>9.6251266463999993E-2</c:v>
                </c:pt>
                <c:pt idx="14">
                  <c:v>0.1160903018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Jihomoravský kraj</c:v>
                </c:pt>
                <c:pt idx="5">
                  <c:v>Zlínský kraj</c:v>
                </c:pt>
                <c:pt idx="6">
                  <c:v>Kraj Vysočina</c:v>
                </c:pt>
                <c:pt idx="7">
                  <c:v>Moravskoslezs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228149201833</c:v>
                </c:pt>
                <c:pt idx="1">
                  <c:v>0.20980456560999999</c:v>
                </c:pt>
                <c:pt idx="2">
                  <c:v>0.148610253242</c:v>
                </c:pt>
                <c:pt idx="3">
                  <c:v>0.126222222222</c:v>
                </c:pt>
                <c:pt idx="4">
                  <c:v>0.13610130071400001</c:v>
                </c:pt>
                <c:pt idx="5">
                  <c:v>0.113789878416</c:v>
                </c:pt>
                <c:pt idx="6">
                  <c:v>0.16290473225400001</c:v>
                </c:pt>
                <c:pt idx="7">
                  <c:v>0.111920695478</c:v>
                </c:pt>
                <c:pt idx="8">
                  <c:v>0.12658793628500001</c:v>
                </c:pt>
                <c:pt idx="9">
                  <c:v>0.130350580991</c:v>
                </c:pt>
                <c:pt idx="10">
                  <c:v>0.124385050297</c:v>
                </c:pt>
                <c:pt idx="11">
                  <c:v>0.11939308514999999</c:v>
                </c:pt>
                <c:pt idx="12">
                  <c:v>8.2317801671999993E-2</c:v>
                </c:pt>
                <c:pt idx="13">
                  <c:v>5.9819661315000001E-2</c:v>
                </c:pt>
                <c:pt idx="14">
                  <c:v>5.63380281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Jihomoravský kraj</c:v>
                </c:pt>
                <c:pt idx="5">
                  <c:v>Zlínský kraj</c:v>
                </c:pt>
                <c:pt idx="6">
                  <c:v>Kraj Vysočina</c:v>
                </c:pt>
                <c:pt idx="7">
                  <c:v>Moravskoslezs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9.3675287979999994E-2</c:v>
                </c:pt>
                <c:pt idx="1">
                  <c:v>0.10066829319999999</c:v>
                </c:pt>
                <c:pt idx="2">
                  <c:v>5.7447127643000001E-2</c:v>
                </c:pt>
                <c:pt idx="3">
                  <c:v>5.7052797478000003E-2</c:v>
                </c:pt>
                <c:pt idx="4">
                  <c:v>6.7817448608E-2</c:v>
                </c:pt>
                <c:pt idx="5">
                  <c:v>6.0396470972000002E-2</c:v>
                </c:pt>
                <c:pt idx="6">
                  <c:v>7.4259681093000005E-2</c:v>
                </c:pt>
                <c:pt idx="7">
                  <c:v>5.6445114046E-2</c:v>
                </c:pt>
                <c:pt idx="8">
                  <c:v>5.4183514171000001E-2</c:v>
                </c:pt>
                <c:pt idx="9">
                  <c:v>5.2666409307999998E-2</c:v>
                </c:pt>
                <c:pt idx="10">
                  <c:v>4.9288441512999999E-2</c:v>
                </c:pt>
                <c:pt idx="11">
                  <c:v>4.6602632514999999E-2</c:v>
                </c:pt>
                <c:pt idx="12">
                  <c:v>3.0418392863E-2</c:v>
                </c:pt>
                <c:pt idx="13">
                  <c:v>2.0631067961000001E-2</c:v>
                </c:pt>
                <c:pt idx="14">
                  <c:v>1.8317061831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22.5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Jihomoravský kraj</c:v>
                </c:pt>
                <c:pt idx="5">
                  <c:v>Zlínský kraj</c:v>
                </c:pt>
                <c:pt idx="6">
                  <c:v>Kraj Vysočina</c:v>
                </c:pt>
                <c:pt idx="7">
                  <c:v>Moravskoslezs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5.6319502569999999E-2</c:v>
                </c:pt>
                <c:pt idx="1">
                  <c:v>4.7138865265000003E-2</c:v>
                </c:pt>
                <c:pt idx="2">
                  <c:v>3.7186241090000002E-2</c:v>
                </c:pt>
                <c:pt idx="3">
                  <c:v>3.1275189423999997E-2</c:v>
                </c:pt>
                <c:pt idx="4">
                  <c:v>3.0209858467E-2</c:v>
                </c:pt>
                <c:pt idx="5">
                  <c:v>2.8206525028000001E-2</c:v>
                </c:pt>
                <c:pt idx="6">
                  <c:v>2.7565928512000001E-2</c:v>
                </c:pt>
                <c:pt idx="7">
                  <c:v>2.7264562483E-2</c:v>
                </c:pt>
                <c:pt idx="8">
                  <c:v>2.4027444063E-2</c:v>
                </c:pt>
                <c:pt idx="9">
                  <c:v>2.2143381452999999E-2</c:v>
                </c:pt>
                <c:pt idx="10">
                  <c:v>2.1668295861000001E-2</c:v>
                </c:pt>
                <c:pt idx="11">
                  <c:v>1.5703397295000001E-2</c:v>
                </c:pt>
                <c:pt idx="12">
                  <c:v>1.2736318407E-2</c:v>
                </c:pt>
                <c:pt idx="13">
                  <c:v>1.127348643E-2</c:v>
                </c:pt>
                <c:pt idx="14">
                  <c:v>1.0311080041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3A-4D9C-A061-EA9939A57C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2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Jihomoravský kraj</c:v>
                </c:pt>
                <c:pt idx="5">
                  <c:v>Zlínský kraj</c:v>
                </c:pt>
                <c:pt idx="6">
                  <c:v>Kraj Vysočina</c:v>
                </c:pt>
                <c:pt idx="7">
                  <c:v>Moravskoslezs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5.6319502569999999E-2</c:v>
                </c:pt>
                <c:pt idx="1">
                  <c:v>4.7138865265000003E-2</c:v>
                </c:pt>
                <c:pt idx="2">
                  <c:v>3.7186241090000002E-2</c:v>
                </c:pt>
                <c:pt idx="3">
                  <c:v>3.1275189423999997E-2</c:v>
                </c:pt>
                <c:pt idx="4">
                  <c:v>3.0209858467E-2</c:v>
                </c:pt>
                <c:pt idx="5">
                  <c:v>2.8206525028000001E-2</c:v>
                </c:pt>
                <c:pt idx="6">
                  <c:v>2.7565928512000001E-2</c:v>
                </c:pt>
                <c:pt idx="7">
                  <c:v>2.7264562483E-2</c:v>
                </c:pt>
                <c:pt idx="8">
                  <c:v>2.4027444063E-2</c:v>
                </c:pt>
                <c:pt idx="9">
                  <c:v>2.2143381452999999E-2</c:v>
                </c:pt>
                <c:pt idx="10">
                  <c:v>2.1668295861000001E-2</c:v>
                </c:pt>
                <c:pt idx="11">
                  <c:v>1.5703397295000001E-2</c:v>
                </c:pt>
                <c:pt idx="12">
                  <c:v>1.2736318407E-2</c:v>
                </c:pt>
                <c:pt idx="13">
                  <c:v>1.127348643E-2</c:v>
                </c:pt>
                <c:pt idx="14">
                  <c:v>1.0311080041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Zlínský kraj</c:v>
                </c:pt>
                <c:pt idx="2">
                  <c:v>Moravskoslezský kraj</c:v>
                </c:pt>
                <c:pt idx="3">
                  <c:v>Liberecký kraj</c:v>
                </c:pt>
                <c:pt idx="4">
                  <c:v>Jihočes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Pardubický kraj</c:v>
                </c:pt>
                <c:pt idx="9">
                  <c:v>Kraj Vysočina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39.32551124306499</c:v>
                </c:pt>
                <c:pt idx="1">
                  <c:v>241.15741770222999</c:v>
                </c:pt>
                <c:pt idx="2">
                  <c:v>231.71707043897101</c:v>
                </c:pt>
                <c:pt idx="3">
                  <c:v>277.07717480722101</c:v>
                </c:pt>
                <c:pt idx="4">
                  <c:v>313.41727384465202</c:v>
                </c:pt>
                <c:pt idx="5">
                  <c:v>238.09384377664</c:v>
                </c:pt>
                <c:pt idx="6">
                  <c:v>234.42835708499601</c:v>
                </c:pt>
                <c:pt idx="7">
                  <c:v>338.798830850277</c:v>
                </c:pt>
                <c:pt idx="8">
                  <c:v>264.50877488256799</c:v>
                </c:pt>
                <c:pt idx="9">
                  <c:v>207.132918805467</c:v>
                </c:pt>
                <c:pt idx="10">
                  <c:v>179.539264945127</c:v>
                </c:pt>
                <c:pt idx="11">
                  <c:v>209.630127182378</c:v>
                </c:pt>
                <c:pt idx="12">
                  <c:v>242.847445309253</c:v>
                </c:pt>
                <c:pt idx="13">
                  <c:v>139.614344874664</c:v>
                </c:pt>
                <c:pt idx="14">
                  <c:v>99.8939691999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Zlínský kraj</c:v>
                </c:pt>
                <c:pt idx="2">
                  <c:v>Moravskoslezský kraj</c:v>
                </c:pt>
                <c:pt idx="3">
                  <c:v>Liberecký kraj</c:v>
                </c:pt>
                <c:pt idx="4">
                  <c:v>Jihočes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Pardubický kraj</c:v>
                </c:pt>
                <c:pt idx="9">
                  <c:v>Kraj Vysočina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03.32359537018499</c:v>
                </c:pt>
                <c:pt idx="1">
                  <c:v>213.576869573311</c:v>
                </c:pt>
                <c:pt idx="2">
                  <c:v>176.889659416146</c:v>
                </c:pt>
                <c:pt idx="3">
                  <c:v>155.036657355427</c:v>
                </c:pt>
                <c:pt idx="4">
                  <c:v>201.071865322251</c:v>
                </c:pt>
                <c:pt idx="5">
                  <c:v>156.19156933625601</c:v>
                </c:pt>
                <c:pt idx="6">
                  <c:v>152.91852932461501</c:v>
                </c:pt>
                <c:pt idx="7">
                  <c:v>202.079793978976</c:v>
                </c:pt>
                <c:pt idx="8">
                  <c:v>186.85833193078</c:v>
                </c:pt>
                <c:pt idx="9">
                  <c:v>156.627074276999</c:v>
                </c:pt>
                <c:pt idx="10">
                  <c:v>111.228956380272</c:v>
                </c:pt>
                <c:pt idx="11">
                  <c:v>100.83902808772901</c:v>
                </c:pt>
                <c:pt idx="12">
                  <c:v>131.75993939901099</c:v>
                </c:pt>
                <c:pt idx="13">
                  <c:v>60.094080823814998</c:v>
                </c:pt>
                <c:pt idx="14">
                  <c:v>64.43672415967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Zlínský kraj</c:v>
                </c:pt>
                <c:pt idx="2">
                  <c:v>Moravskoslezský kraj</c:v>
                </c:pt>
                <c:pt idx="3">
                  <c:v>Liberecký kraj</c:v>
                </c:pt>
                <c:pt idx="4">
                  <c:v>Jihočes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Pardubický kraj</c:v>
                </c:pt>
                <c:pt idx="9">
                  <c:v>Kraj Vysočina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53.130580693456999</c:v>
                </c:pt>
                <c:pt idx="1">
                  <c:v>78.259805315804996</c:v>
                </c:pt>
                <c:pt idx="2">
                  <c:v>71.175033575501004</c:v>
                </c:pt>
                <c:pt idx="3">
                  <c:v>50.172212730181002</c:v>
                </c:pt>
                <c:pt idx="4">
                  <c:v>84.220209431731007</c:v>
                </c:pt>
                <c:pt idx="5">
                  <c:v>58.728699343358997</c:v>
                </c:pt>
                <c:pt idx="6">
                  <c:v>52.598741311840001</c:v>
                </c:pt>
                <c:pt idx="7">
                  <c:v>67.074335009375005</c:v>
                </c:pt>
                <c:pt idx="8">
                  <c:v>42.841623697537997</c:v>
                </c:pt>
                <c:pt idx="9">
                  <c:v>59.938842728337001</c:v>
                </c:pt>
                <c:pt idx="10">
                  <c:v>39.548073379652003</c:v>
                </c:pt>
                <c:pt idx="11">
                  <c:v>29.777968025905999</c:v>
                </c:pt>
                <c:pt idx="12">
                  <c:v>42.346299741701003</c:v>
                </c:pt>
                <c:pt idx="13">
                  <c:v>16.884439627235</c:v>
                </c:pt>
                <c:pt idx="14">
                  <c:v>17.728622520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22.5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Zlínský kraj</c:v>
                </c:pt>
                <c:pt idx="2">
                  <c:v>Moravskoslezský kraj</c:v>
                </c:pt>
                <c:pt idx="3">
                  <c:v>Liberecký kraj</c:v>
                </c:pt>
                <c:pt idx="4">
                  <c:v>Jihočes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Pardubický kraj</c:v>
                </c:pt>
                <c:pt idx="9">
                  <c:v>Kraj Vysočina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8.698094594636999</c:v>
                </c:pt>
                <c:pt idx="1">
                  <c:v>36.544226270815997</c:v>
                </c:pt>
                <c:pt idx="2">
                  <c:v>31.856905487268001</c:v>
                </c:pt>
                <c:pt idx="3">
                  <c:v>30.510129362948</c:v>
                </c:pt>
                <c:pt idx="4">
                  <c:v>29.368301812908999</c:v>
                </c:pt>
                <c:pt idx="5">
                  <c:v>28.360440281195</c:v>
                </c:pt>
                <c:pt idx="6">
                  <c:v>23.622245165452</c:v>
                </c:pt>
                <c:pt idx="7">
                  <c:v>22.521309565191</c:v>
                </c:pt>
                <c:pt idx="8">
                  <c:v>22.185840843367</c:v>
                </c:pt>
                <c:pt idx="9">
                  <c:v>19.652079583060999</c:v>
                </c:pt>
                <c:pt idx="10">
                  <c:v>18.575610223776</c:v>
                </c:pt>
                <c:pt idx="11">
                  <c:v>16.750107014571999</c:v>
                </c:pt>
                <c:pt idx="12">
                  <c:v>15.093022374153</c:v>
                </c:pt>
                <c:pt idx="13">
                  <c:v>9.0776557135669993</c:v>
                </c:pt>
                <c:pt idx="14">
                  <c:v>6.13683087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AA-41EA-9F16-8BB4B107D4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7059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75830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08858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82937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9798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90696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3894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488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7578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80002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13228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38043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23110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1438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172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6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6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7782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5808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42975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24475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3669311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38637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4206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2944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401797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76105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9639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8725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2668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043807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93813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1797504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23438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8347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930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1309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70601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46962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2796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91854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74465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0448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19802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57936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998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23875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31526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047846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99529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27227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82508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81838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98973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84316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1032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4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image" Target="../media/image6.svg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59.xml"/><Relationship Id="rId15" Type="http://schemas.openxmlformats.org/officeDocument/2006/relationships/image" Target="../media/image8.svg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1536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973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1995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027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4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319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461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chart" Target="../charts/chart5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chart" Target="../charts/chart4.xml"/><Relationship Id="rId2" Type="http://schemas.openxmlformats.org/officeDocument/2006/relationships/tags" Target="../tags/tag30.xml"/><Relationship Id="rId16" Type="http://schemas.openxmlformats.org/officeDocument/2006/relationships/chart" Target="../charts/chart3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slideLayout" Target="../slideLayouts/slideLayout21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30.xml"/><Relationship Id="rId4" Type="http://schemas.openxmlformats.org/officeDocument/2006/relationships/tags" Target="../tags/tag4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slideLayout" Target="../slideLayouts/slideLayout30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5" Type="http://schemas.openxmlformats.org/officeDocument/2006/relationships/tags" Target="../tags/tag51.xml"/><Relationship Id="rId15" Type="http://schemas.openxmlformats.org/officeDocument/2006/relationships/chart" Target="../charts/chart8.xml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2" Type="http://schemas.openxmlformats.org/officeDocument/2006/relationships/tags" Target="../tags/tag60.xml"/><Relationship Id="rId16" Type="http://schemas.openxmlformats.org/officeDocument/2006/relationships/chart" Target="../charts/chart1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chart" Target="../charts/chart9.xml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6" Type="http://schemas.openxmlformats.org/officeDocument/2006/relationships/chart" Target="../charts/chart12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chart" Target="../charts/chart11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chart" Target="../charts/chart15.xml"/><Relationship Id="rId5" Type="http://schemas.openxmlformats.org/officeDocument/2006/relationships/tags" Target="../tags/tag89.xml"/><Relationship Id="rId10" Type="http://schemas.openxmlformats.org/officeDocument/2006/relationships/chart" Target="../charts/chart14.xml"/><Relationship Id="rId4" Type="http://schemas.openxmlformats.org/officeDocument/2006/relationships/tags" Target="../tags/tag88.xml"/><Relationship Id="rId9" Type="http://schemas.openxmlformats.org/officeDocument/2006/relationships/chart" Target="../charts/chart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chart" Target="../charts/chart18.xml"/><Relationship Id="rId5" Type="http://schemas.openxmlformats.org/officeDocument/2006/relationships/tags" Target="../tags/tag96.xml"/><Relationship Id="rId10" Type="http://schemas.openxmlformats.org/officeDocument/2006/relationships/chart" Target="../charts/chart17.xml"/><Relationship Id="rId4" Type="http://schemas.openxmlformats.org/officeDocument/2006/relationships/tags" Target="../tags/tag95.xml"/><Relationship Id="rId9" Type="http://schemas.openxmlformats.org/officeDocument/2006/relationships/chart" Target="../charts/chart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image" Target="../media/image18.png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slideLayout" Target="../slideLayouts/slideLayout30.xml"/><Relationship Id="rId5" Type="http://schemas.openxmlformats.org/officeDocument/2006/relationships/tags" Target="../tags/tag103.xml"/><Relationship Id="rId10" Type="http://schemas.openxmlformats.org/officeDocument/2006/relationships/tags" Target="../tags/tag108.xml"/><Relationship Id="rId4" Type="http://schemas.openxmlformats.org/officeDocument/2006/relationships/tags" Target="../tags/tag102.xml"/><Relationship Id="rId9" Type="http://schemas.openxmlformats.org/officeDocument/2006/relationships/tags" Target="../tags/tag10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10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chart" Target="../charts/chart20.xml"/><Relationship Id="rId4" Type="http://schemas.openxmlformats.org/officeDocument/2006/relationships/notesSlide" Target="../notesSlides/notesSlide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chart" Target="../charts/chart21.xml"/><Relationship Id="rId4" Type="http://schemas.openxmlformats.org/officeDocument/2006/relationships/notesSlide" Target="../notesSlides/notesSlide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11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chart" Target="../charts/chart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chart" Target="../charts/chart23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2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chart" Target="../charts/chart24.xml"/><Relationship Id="rId4" Type="http://schemas.openxmlformats.org/officeDocument/2006/relationships/slideLayout" Target="../slideLayouts/slideLayout6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chart" Target="../charts/chart25.xml"/><Relationship Id="rId4" Type="http://schemas.openxmlformats.org/officeDocument/2006/relationships/slideLayout" Target="../slideLayouts/slideLayout6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135.xml"/><Relationship Id="rId4" Type="http://schemas.openxmlformats.org/officeDocument/2006/relationships/chart" Target="../charts/chart27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slideLayout" Target="../slideLayouts/slideLayout59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5" Type="http://schemas.openxmlformats.org/officeDocument/2006/relationships/tags" Target="../tags/tag140.xml"/><Relationship Id="rId10" Type="http://schemas.openxmlformats.org/officeDocument/2006/relationships/tags" Target="../tags/tag145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notesSlide" Target="../notesSlides/notesSlide1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48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11" Type="http://schemas.openxmlformats.org/officeDocument/2006/relationships/chart" Target="../charts/chart28.xml"/><Relationship Id="rId5" Type="http://schemas.openxmlformats.org/officeDocument/2006/relationships/tags" Target="../tags/tag153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152.xml"/><Relationship Id="rId9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chart" Target="../charts/char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7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notesSlide" Target="../notesSlides/notesSlide13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12" Type="http://schemas.openxmlformats.org/officeDocument/2006/relationships/slideLayout" Target="../slideLayouts/slideLayout35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tags" Target="../tags/tag168.xml"/><Relationship Id="rId5" Type="http://schemas.openxmlformats.org/officeDocument/2006/relationships/tags" Target="../tags/tag162.xml"/><Relationship Id="rId10" Type="http://schemas.openxmlformats.org/officeDocument/2006/relationships/tags" Target="../tags/tag167.xml"/><Relationship Id="rId4" Type="http://schemas.openxmlformats.org/officeDocument/2006/relationships/tags" Target="../tags/tag161.xml"/><Relationship Id="rId9" Type="http://schemas.openxmlformats.org/officeDocument/2006/relationships/tags" Target="../tags/tag166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slideLayout" Target="../slideLayouts/slideLayout35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tags" Target="../tags/tag180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11" Type="http://schemas.openxmlformats.org/officeDocument/2006/relationships/tags" Target="../tags/tag179.xml"/><Relationship Id="rId5" Type="http://schemas.openxmlformats.org/officeDocument/2006/relationships/tags" Target="../tags/tag173.xml"/><Relationship Id="rId10" Type="http://schemas.openxmlformats.org/officeDocument/2006/relationships/tags" Target="../tags/tag178.xml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chart" Target="../charts/chart29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11" Type="http://schemas.openxmlformats.org/officeDocument/2006/relationships/chart" Target="../charts/chart31.xml"/><Relationship Id="rId5" Type="http://schemas.openxmlformats.org/officeDocument/2006/relationships/tags" Target="../tags/tag185.xml"/><Relationship Id="rId10" Type="http://schemas.openxmlformats.org/officeDocument/2006/relationships/chart" Target="../charts/chart30.xml"/><Relationship Id="rId4" Type="http://schemas.openxmlformats.org/officeDocument/2006/relationships/tags" Target="../tags/tag184.xml"/><Relationship Id="rId9" Type="http://schemas.openxmlformats.org/officeDocument/2006/relationships/notesSlide" Target="../notesSlides/notesSlide14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13" Type="http://schemas.openxmlformats.org/officeDocument/2006/relationships/tags" Target="../tags/tag200.xml"/><Relationship Id="rId18" Type="http://schemas.openxmlformats.org/officeDocument/2006/relationships/tags" Target="../tags/tag205.xml"/><Relationship Id="rId26" Type="http://schemas.openxmlformats.org/officeDocument/2006/relationships/chart" Target="../charts/chart33.xml"/><Relationship Id="rId3" Type="http://schemas.openxmlformats.org/officeDocument/2006/relationships/tags" Target="../tags/tag190.xml"/><Relationship Id="rId21" Type="http://schemas.openxmlformats.org/officeDocument/2006/relationships/tags" Target="../tags/tag208.xml"/><Relationship Id="rId7" Type="http://schemas.openxmlformats.org/officeDocument/2006/relationships/tags" Target="../tags/tag194.xml"/><Relationship Id="rId12" Type="http://schemas.openxmlformats.org/officeDocument/2006/relationships/tags" Target="../tags/tag199.xml"/><Relationship Id="rId17" Type="http://schemas.openxmlformats.org/officeDocument/2006/relationships/tags" Target="../tags/tag204.xml"/><Relationship Id="rId25" Type="http://schemas.openxmlformats.org/officeDocument/2006/relationships/chart" Target="../charts/chart32.xml"/><Relationship Id="rId2" Type="http://schemas.openxmlformats.org/officeDocument/2006/relationships/tags" Target="../tags/tag189.xml"/><Relationship Id="rId16" Type="http://schemas.openxmlformats.org/officeDocument/2006/relationships/tags" Target="../tags/tag203.xml"/><Relationship Id="rId20" Type="http://schemas.openxmlformats.org/officeDocument/2006/relationships/tags" Target="../tags/tag207.xml"/><Relationship Id="rId29" Type="http://schemas.openxmlformats.org/officeDocument/2006/relationships/chart" Target="../charts/chart36.xml"/><Relationship Id="rId1" Type="http://schemas.openxmlformats.org/officeDocument/2006/relationships/tags" Target="../tags/tag188.xml"/><Relationship Id="rId6" Type="http://schemas.openxmlformats.org/officeDocument/2006/relationships/tags" Target="../tags/tag193.xml"/><Relationship Id="rId11" Type="http://schemas.openxmlformats.org/officeDocument/2006/relationships/tags" Target="../tags/tag198.xml"/><Relationship Id="rId24" Type="http://schemas.openxmlformats.org/officeDocument/2006/relationships/notesSlide" Target="../notesSlides/notesSlide15.xml"/><Relationship Id="rId5" Type="http://schemas.openxmlformats.org/officeDocument/2006/relationships/tags" Target="../tags/tag192.xml"/><Relationship Id="rId15" Type="http://schemas.openxmlformats.org/officeDocument/2006/relationships/tags" Target="../tags/tag202.xml"/><Relationship Id="rId23" Type="http://schemas.openxmlformats.org/officeDocument/2006/relationships/slideLayout" Target="../slideLayouts/slideLayout35.xml"/><Relationship Id="rId28" Type="http://schemas.openxmlformats.org/officeDocument/2006/relationships/chart" Target="../charts/chart35.xml"/><Relationship Id="rId10" Type="http://schemas.openxmlformats.org/officeDocument/2006/relationships/tags" Target="../tags/tag197.xml"/><Relationship Id="rId19" Type="http://schemas.openxmlformats.org/officeDocument/2006/relationships/tags" Target="../tags/tag206.xml"/><Relationship Id="rId4" Type="http://schemas.openxmlformats.org/officeDocument/2006/relationships/tags" Target="../tags/tag191.xml"/><Relationship Id="rId9" Type="http://schemas.openxmlformats.org/officeDocument/2006/relationships/tags" Target="../tags/tag196.xml"/><Relationship Id="rId14" Type="http://schemas.openxmlformats.org/officeDocument/2006/relationships/tags" Target="../tags/tag201.xml"/><Relationship Id="rId22" Type="http://schemas.openxmlformats.org/officeDocument/2006/relationships/tags" Target="../tags/tag209.xml"/><Relationship Id="rId27" Type="http://schemas.openxmlformats.org/officeDocument/2006/relationships/chart" Target="../charts/chart34.xml"/><Relationship Id="rId30" Type="http://schemas.openxmlformats.org/officeDocument/2006/relationships/chart" Target="../charts/chart37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tags" Target="../tags/tag222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tags" Target="../tags/tag221.xml"/><Relationship Id="rId2" Type="http://schemas.openxmlformats.org/officeDocument/2006/relationships/tags" Target="../tags/tag211.xml"/><Relationship Id="rId16" Type="http://schemas.openxmlformats.org/officeDocument/2006/relationships/chart" Target="../charts/chart39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11" Type="http://schemas.openxmlformats.org/officeDocument/2006/relationships/tags" Target="../tags/tag220.xml"/><Relationship Id="rId5" Type="http://schemas.openxmlformats.org/officeDocument/2006/relationships/tags" Target="../tags/tag214.xml"/><Relationship Id="rId15" Type="http://schemas.openxmlformats.org/officeDocument/2006/relationships/chart" Target="../charts/chart38.xml"/><Relationship Id="rId10" Type="http://schemas.openxmlformats.org/officeDocument/2006/relationships/tags" Target="../tags/tag219.xml"/><Relationship Id="rId4" Type="http://schemas.openxmlformats.org/officeDocument/2006/relationships/tags" Target="../tags/tag213.xml"/><Relationship Id="rId9" Type="http://schemas.openxmlformats.org/officeDocument/2006/relationships/tags" Target="../tags/tag218.xml"/><Relationship Id="rId14" Type="http://schemas.openxmlformats.org/officeDocument/2006/relationships/slideLayout" Target="../slideLayouts/slideLayout30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13" Type="http://schemas.openxmlformats.org/officeDocument/2006/relationships/tags" Target="../tags/tag23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tags" Target="../tags/tag234.xml"/><Relationship Id="rId2" Type="http://schemas.openxmlformats.org/officeDocument/2006/relationships/tags" Target="../tags/tag224.xml"/><Relationship Id="rId16" Type="http://schemas.openxmlformats.org/officeDocument/2006/relationships/chart" Target="../charts/chart41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tags" Target="../tags/tag233.xml"/><Relationship Id="rId5" Type="http://schemas.openxmlformats.org/officeDocument/2006/relationships/tags" Target="../tags/tag227.xml"/><Relationship Id="rId15" Type="http://schemas.openxmlformats.org/officeDocument/2006/relationships/chart" Target="../charts/chart40.xml"/><Relationship Id="rId10" Type="http://schemas.openxmlformats.org/officeDocument/2006/relationships/tags" Target="../tags/tag232.xml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4" Type="http://schemas.openxmlformats.org/officeDocument/2006/relationships/slideLayout" Target="../slideLayouts/slideLayout30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13" Type="http://schemas.openxmlformats.org/officeDocument/2006/relationships/tags" Target="../tags/tag248.xml"/><Relationship Id="rId18" Type="http://schemas.openxmlformats.org/officeDocument/2006/relationships/chart" Target="../charts/chart42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tags" Target="../tags/tag247.xml"/><Relationship Id="rId17" Type="http://schemas.openxmlformats.org/officeDocument/2006/relationships/slideLayout" Target="../slideLayouts/slideLayout30.xml"/><Relationship Id="rId2" Type="http://schemas.openxmlformats.org/officeDocument/2006/relationships/tags" Target="../tags/tag237.xml"/><Relationship Id="rId16" Type="http://schemas.openxmlformats.org/officeDocument/2006/relationships/tags" Target="../tags/tag251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tags" Target="../tags/tag246.xml"/><Relationship Id="rId5" Type="http://schemas.openxmlformats.org/officeDocument/2006/relationships/tags" Target="../tags/tag240.xml"/><Relationship Id="rId15" Type="http://schemas.openxmlformats.org/officeDocument/2006/relationships/tags" Target="../tags/tag250.xml"/><Relationship Id="rId10" Type="http://schemas.openxmlformats.org/officeDocument/2006/relationships/tags" Target="../tags/tag245.xml"/><Relationship Id="rId19" Type="http://schemas.openxmlformats.org/officeDocument/2006/relationships/chart" Target="../charts/chart43.xml"/><Relationship Id="rId4" Type="http://schemas.openxmlformats.org/officeDocument/2006/relationships/tags" Target="../tags/tag239.xml"/><Relationship Id="rId9" Type="http://schemas.openxmlformats.org/officeDocument/2006/relationships/tags" Target="../tags/tag244.xml"/><Relationship Id="rId14" Type="http://schemas.openxmlformats.org/officeDocument/2006/relationships/tags" Target="../tags/tag24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slideLayout" Target="../slideLayouts/slideLayout41.xml"/><Relationship Id="rId3" Type="http://schemas.openxmlformats.org/officeDocument/2006/relationships/tags" Target="../tags/tag13.xml"/><Relationship Id="rId21" Type="http://schemas.openxmlformats.org/officeDocument/2006/relationships/image" Target="../media/image16.png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image" Target="../media/image15.png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10" Type="http://schemas.openxmlformats.org/officeDocument/2006/relationships/tags" Target="../tags/tag20.xml"/><Relationship Id="rId19" Type="http://schemas.openxmlformats.org/officeDocument/2006/relationships/image" Target="../media/image14.png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22. - 24. </a:t>
            </a:r>
            <a:r>
              <a:rPr lang="cs-CZ" sz="4800" b="1" dirty="0"/>
              <a:t>5. 2021</a:t>
            </a:r>
          </a:p>
          <a:p>
            <a:r>
              <a:rPr lang="cs-CZ" sz="4800" b="1" dirty="0"/>
              <a:t>– stručný přehled aktuálních dat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72601" cy="576000"/>
          </a:xfrm>
        </p:spPr>
        <p:txBody>
          <a:bodyPr/>
          <a:lstStyle/>
          <a:p>
            <a:r>
              <a:rPr lang="cs-CZ" dirty="0"/>
              <a:t>Počty COVID-19 pozitivních na 100 000 v populaci v </a:t>
            </a:r>
            <a:r>
              <a:rPr lang="en-US" dirty="0" err="1"/>
              <a:t>kraj</a:t>
            </a:r>
            <a:r>
              <a:rPr lang="cs-CZ" dirty="0" err="1"/>
              <a:t>ích</a:t>
            </a:r>
            <a:r>
              <a:rPr lang="cs-CZ" dirty="0"/>
              <a:t> a Č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-2575382" y="3335853"/>
            <a:ext cx="59142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82917E-EB1A-42EA-B728-8C7B5FA8D5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458450" y="3429000"/>
            <a:ext cx="1159667" cy="16954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193EB7-144D-460C-97CE-E2EC4848C1E4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5042019" y="765123"/>
            <a:ext cx="290557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8EA0C1D-374C-4981-AC45-7B9D37C21E1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339785" y="626644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Kraj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0AEF043-182B-419C-A6BD-2E1FF6F1B57B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831083" y="777004"/>
            <a:ext cx="290557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0888145-4D3A-4A2B-AD0B-B53F94952DC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128849" y="638525"/>
            <a:ext cx="405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ČR</a:t>
            </a: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D6E2622F-49FC-4FBC-81ED-6803DF0BC82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458445" y="3890933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Jiho</a:t>
            </a:r>
            <a:r>
              <a:rPr lang="cs-CZ" b="1" dirty="0"/>
              <a:t>český kraj</a:t>
            </a:r>
          </a:p>
        </p:txBody>
      </p:sp>
      <p:graphicFrame>
        <p:nvGraphicFramePr>
          <p:cNvPr id="30" name="Graf 29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63602749"/>
              </p:ext>
            </p:extLst>
          </p:nvPr>
        </p:nvGraphicFramePr>
        <p:xfrm>
          <a:off x="943142" y="1076555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1" name="TextBox 3">
            <a:extLst>
              <a:ext uri="{FF2B5EF4-FFF2-40B4-BE49-F238E27FC236}">
                <a16:creationId xmlns:a16="http://schemas.microsoft.com/office/drawing/2014/main" id="{FCE0B97D-4439-4640-84AF-FE88D63550A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3268" y="671119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965357" y="4605321"/>
            <a:ext cx="46527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 čase signifikantně klesá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 zátěž posledních více zatížených regionů</a:t>
            </a:r>
          </a:p>
        </p:txBody>
      </p:sp>
      <p:sp>
        <p:nvSpPr>
          <p:cNvPr id="20" name="TextBox 13">
            <a:extLst>
              <a:ext uri="{FF2B5EF4-FFF2-40B4-BE49-F238E27FC236}">
                <a16:creationId xmlns:a16="http://schemas.microsoft.com/office/drawing/2014/main" id="{924AD9AF-340F-4D5B-8B1E-93FDCBB1E34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819468" y="967214"/>
            <a:ext cx="2557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/>
              <a:t>Moravskoslezsk</a:t>
            </a:r>
            <a:r>
              <a:rPr lang="cs-CZ" b="1" dirty="0"/>
              <a:t>ý kraj</a:t>
            </a:r>
          </a:p>
        </p:txBody>
      </p:sp>
      <p:graphicFrame>
        <p:nvGraphicFramePr>
          <p:cNvPr id="22" name="Graf 29">
            <a:extLst>
              <a:ext uri="{FF2B5EF4-FFF2-40B4-BE49-F238E27FC236}">
                <a16:creationId xmlns:a16="http://schemas.microsoft.com/office/drawing/2014/main" id="{C89DC379-580C-454D-898C-C882305691C4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70207002"/>
              </p:ext>
            </p:extLst>
          </p:nvPr>
        </p:nvGraphicFramePr>
        <p:xfrm>
          <a:off x="6534729" y="1086337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24" name="Graf 29">
            <a:extLst>
              <a:ext uri="{FF2B5EF4-FFF2-40B4-BE49-F238E27FC236}">
                <a16:creationId xmlns:a16="http://schemas.microsoft.com/office/drawing/2014/main" id="{BE044C6C-68E5-41A3-904C-8AE39B7CAB5F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6675201"/>
              </p:ext>
            </p:extLst>
          </p:nvPr>
        </p:nvGraphicFramePr>
        <p:xfrm>
          <a:off x="943142" y="3917255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1864237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406" y="3444286"/>
            <a:ext cx="4768041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</a:t>
            </a:r>
            <a:r>
              <a:rPr lang="pl-PL" sz="2000" dirty="0" smtClean="0">
                <a:latin typeface="+mn-lt"/>
              </a:rPr>
              <a:t>23.5</a:t>
            </a:r>
            <a:r>
              <a:rPr lang="pl-PL" sz="2000" dirty="0">
                <a:latin typeface="+mn-lt"/>
              </a:rPr>
              <a:t>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2140249"/>
              </p:ext>
            </p:extLst>
          </p:nvPr>
        </p:nvGraphicFramePr>
        <p:xfrm>
          <a:off x="270230" y="1097989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387152" y="2620417"/>
            <a:ext cx="465276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dnota reprodukčního čísla je &lt; 1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idemie klesá a v důsledku toho se zmenšují rozdíly mezi regiony. </a:t>
            </a:r>
          </a:p>
        </p:txBody>
      </p:sp>
    </p:spTree>
    <p:extLst>
      <p:ext uri="{BB962C8B-B14F-4D97-AF65-F5344CB8AC3E}">
        <p14:creationId xmlns:p14="http://schemas.microsoft.com/office/powerpoint/2010/main" val="4318161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</a:t>
            </a:r>
            <a:endParaRPr lang="cs-CZ" sz="20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919" y="4491874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90162710"/>
              </p:ext>
            </p:ext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70120476"/>
              </p:ext>
            </p:extLst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590239" y="2419195"/>
            <a:ext cx="322872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y a klinicky indikovaných testů a testů z epidemiologické indikace  klesá v čase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y ve všech krajích jsou nižší než 6%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681979-8D7B-4CCB-B955-EFE9E629263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880431-BE22-4A6A-8973-100F5FFE2E4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.5.2021</a:t>
            </a:r>
          </a:p>
        </p:txBody>
      </p:sp>
    </p:spTree>
    <p:extLst>
      <p:ext uri="{BB962C8B-B14F-4D97-AF65-F5344CB8AC3E}">
        <p14:creationId xmlns:p14="http://schemas.microsoft.com/office/powerpoint/2010/main" val="1329426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symptomatické případy za 7 dní na 100 000 obyvatel</a:t>
            </a:r>
            <a:endParaRPr lang="cs-CZ" sz="2000" dirty="0">
              <a:latin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919" y="3463699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8331193"/>
              </p:ext>
            </p:ext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89592637"/>
              </p:ext>
            </p:extLst>
          </p:nvPr>
        </p:nvGraphicFramePr>
        <p:xfrm>
          <a:off x="46941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790035" y="2011604"/>
            <a:ext cx="3003663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nově diagnostikovaných klesají případů se symptomy klesají v čase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írně zvýšené hodnoty vykazují kraj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.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B59230-C165-486D-A385-2EAB33330E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9E31F8C-55B9-4292-AE66-EBBFB2B5CD2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46D7AD1-6F24-4B52-9A1E-791A45D97E4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7AEB568-22E2-4881-995E-D44AFD890D1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4997D1-7CC0-4D87-AAE2-896892CF970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15CEE02-F8D1-4562-8C35-5D4200C2D72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77C6EAE-468F-42A2-982E-37EE3DE0C36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E6A51B4-ACA0-4DC0-8EE8-850A18AF813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.5.2021</a:t>
            </a:r>
          </a:p>
        </p:txBody>
      </p:sp>
      <p:sp>
        <p:nvSpPr>
          <p:cNvPr id="16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430930" y="765095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</p:spTree>
    <p:extLst>
      <p:ext uri="{BB962C8B-B14F-4D97-AF65-F5344CB8AC3E}">
        <p14:creationId xmlns:p14="http://schemas.microsoft.com/office/powerpoint/2010/main" val="2507955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22</a:t>
            </a:r>
            <a:r>
              <a:rPr lang="pl-PL" sz="2000" dirty="0"/>
              <a:t>.</a:t>
            </a:r>
            <a:r>
              <a:rPr lang="en-US" sz="2000" dirty="0"/>
              <a:t>5</a:t>
            </a:r>
            <a:r>
              <a:rPr lang="pl-PL" sz="2000" dirty="0"/>
              <a:t>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9540061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4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13289330"/>
              </p:ext>
            </p:extLst>
          </p:nvPr>
        </p:nvGraphicFramePr>
        <p:xfrm>
          <a:off x="4989018" y="12077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729428" y="1819469"/>
            <a:ext cx="333996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louhodobě v čase signifikantně klesá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 zátěž nejvíce zatížených okresů (</a:t>
            </a: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př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Vsetín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ě největší počet potvrzených záchytů nákazy na 100tis. obyv. registrují okresy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Šumperk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Č. Lípa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97FA685-9353-4F95-B0C5-0C18E29656A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D018B8-FCC2-498E-A88B-199C64FD78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481791-F247-4C6E-A003-B594E343508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C9B0EEE-186D-481F-9658-9AC616DD7D1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9FA27BD-12AA-44F0-B6EB-55760584F15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DA5799D-2751-41DA-8611-70EFB8F39A1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9A25F0C-78E5-45F8-A19E-8E09DA92466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7AA2FF9-D78F-4ADC-BD24-BEA4E8BCF08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.5.2021</a:t>
            </a:r>
          </a:p>
        </p:txBody>
      </p:sp>
    </p:spTree>
    <p:extLst>
      <p:ext uri="{BB962C8B-B14F-4D97-AF65-F5344CB8AC3E}">
        <p14:creationId xmlns:p14="http://schemas.microsoft.com/office/powerpoint/2010/main" val="32915722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22</a:t>
            </a:r>
            <a:r>
              <a:rPr lang="pl-PL" sz="2000" dirty="0"/>
              <a:t>.</a:t>
            </a:r>
            <a:r>
              <a:rPr lang="en-US" sz="2000" dirty="0"/>
              <a:t>5</a:t>
            </a:r>
            <a:r>
              <a:rPr lang="pl-PL" sz="2000" dirty="0"/>
              <a:t>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7895221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9" name="TextovéPole 6">
            <a:extLst>
              <a:ext uri="{FF2B5EF4-FFF2-40B4-BE49-F238E27FC236}">
                <a16:creationId xmlns:a16="http://schemas.microsoft.com/office/drawing/2014/main" id="{9B45D4F8-61EE-403A-869D-55184481FC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773463" y="925059"/>
            <a:ext cx="3435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20 okresů s nejvyššími hodnotami)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27F0E65-C6B8-4A75-8D1B-D96D31B1B03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81934183"/>
              </p:ext>
            </p:extLst>
          </p:nvPr>
        </p:nvGraphicFramePr>
        <p:xfrm>
          <a:off x="4917936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6ACD2A0-0BE8-480D-A338-915B7AAB8F8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54362176"/>
              </p:ext>
            </p:extLst>
          </p:nvPr>
        </p:nvGraphicFramePr>
        <p:xfrm>
          <a:off x="8389776" y="1342877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FA5B2374-6BF8-4269-978D-62AC84EEE7B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45303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</a:t>
            </a:r>
          </a:p>
        </p:txBody>
      </p:sp>
    </p:spTree>
    <p:extLst>
      <p:ext uri="{BB962C8B-B14F-4D97-AF65-F5344CB8AC3E}">
        <p14:creationId xmlns:p14="http://schemas.microsoft.com/office/powerpoint/2010/main" val="33110670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20 okresů s nejvyššími hodnotami R k </a:t>
            </a:r>
            <a:r>
              <a:rPr lang="cs-CZ" sz="2000" dirty="0"/>
              <a:t>22</a:t>
            </a:r>
            <a:r>
              <a:rPr lang="pl-PL" sz="2000" dirty="0"/>
              <a:t>.</a:t>
            </a:r>
            <a:r>
              <a:rPr lang="en-US" sz="2000" dirty="0"/>
              <a:t>5</a:t>
            </a:r>
            <a:r>
              <a:rPr lang="pl-PL" sz="2000" dirty="0"/>
              <a:t>. a jejich celková populační zátěž 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6234314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1619" y="945486"/>
            <a:ext cx="3435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20 okresů s nejvyššími hodnotami)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68FC797-0E96-4C3E-B963-3453AA9DA65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59133498"/>
              </p:ext>
            </p:extLst>
          </p:nvPr>
        </p:nvGraphicFramePr>
        <p:xfrm>
          <a:off x="4917936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6">
            <a:extLst>
              <a:ext uri="{FF2B5EF4-FFF2-40B4-BE49-F238E27FC236}">
                <a16:creationId xmlns:a16="http://schemas.microsoft.com/office/drawing/2014/main" id="{EC921A74-54AF-4962-AD3E-D7ADB3CF99F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17936" y="938290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BE1024E-8C1A-45B3-BC41-BA091ED1B9D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38717830"/>
              </p:ext>
            </p:extLst>
          </p:nvPr>
        </p:nvGraphicFramePr>
        <p:xfrm>
          <a:off x="8389776" y="1342877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6049A26A-3141-437F-BFC4-FCA8B37473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45303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</a:t>
            </a:r>
          </a:p>
        </p:txBody>
      </p:sp>
    </p:spTree>
    <p:extLst>
      <p:ext uri="{BB962C8B-B14F-4D97-AF65-F5344CB8AC3E}">
        <p14:creationId xmlns:p14="http://schemas.microsoft.com/office/powerpoint/2010/main" val="1736931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Map&#10;&#10;Description automatically generated">
            <a:extLst>
              <a:ext uri="{FF2B5EF4-FFF2-40B4-BE49-F238E27FC236}">
                <a16:creationId xmlns:a16="http://schemas.microsoft.com/office/drawing/2014/main" id="{0E33DE5E-8A15-4BC0-89F1-8DE3EF7F563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959" y="710682"/>
            <a:ext cx="7849092" cy="5143126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poteniálně rizikovými epidemickými hodnotami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y s vysokými 7denními novými počty pozitivních a 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0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≥0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5, al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spad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 okresů s nejvyššími 7denními novými počty pozitivních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≥0.95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ad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 okresů s nejvyššími 7denními novými počty pozitivních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783613888"/>
              </p:ext>
            </p:extLst>
          </p:nvPr>
        </p:nvGraphicFramePr>
        <p:xfrm>
          <a:off x="9763125" y="804901"/>
          <a:ext cx="2315612" cy="5595233"/>
        </p:xfrm>
        <a:graphic>
          <a:graphicData uri="http://schemas.openxmlformats.org/drawingml/2006/table">
            <a:tbl>
              <a:tblPr/>
              <a:tblGrid>
                <a:gridCol w="2315612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ojm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no-venk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viná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ýdek-Míste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ansk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č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rava-měst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herské Hradiště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set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657457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hřim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916323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šk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723995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heb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436331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54580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ácho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27035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664073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á Líp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469898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stěj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857957"/>
                  </a:ext>
                </a:extLst>
              </a:tr>
              <a:tr h="24327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487794"/>
                  </a:ext>
                </a:extLst>
              </a:tr>
            </a:tbl>
          </a:graphicData>
        </a:graphic>
      </p:graphicFrame>
      <p:sp>
        <p:nvSpPr>
          <p:cNvPr id="3" name="TextovéPole 2"/>
          <p:cNvSpPr txBox="1"/>
          <p:nvPr>
            <p:custDataLst>
              <p:tags r:id="rId10"/>
            </p:custDataLst>
          </p:nvPr>
        </p:nvSpPr>
        <p:spPr>
          <a:xfrm>
            <a:off x="5547949" y="869295"/>
            <a:ext cx="41737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kresy (červeně) </a:t>
            </a:r>
            <a:r>
              <a:rPr kumimoji="0" lang="cs-CZ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kazují relativně vysoký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ndardizovaný záchyt počtu nemocných a přitom potenciálně růstovou dynamiku šíření (R blízké 1 nebo nad 1). </a:t>
            </a:r>
            <a:r>
              <a:rPr kumimoji="0" lang="cs-CZ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lší tři okresy (tmavě šedě) vykazují</a:t>
            </a:r>
            <a:r>
              <a:rPr kumimoji="0" lang="cs-CZ" sz="12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 blízké 1 nebo nad 1</a:t>
            </a:r>
            <a:r>
              <a:rPr lang="cs-CZ" sz="1200" b="1" dirty="0" smtClean="0">
                <a:solidFill>
                  <a:srgbClr val="000000"/>
                </a:solidFill>
                <a:latin typeface="Arial" panose="020B0604020202020204"/>
              </a:rPr>
              <a:t>, avšak bez vysokých počtů nově diagnostikovaných pacientů. 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06626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Vybrané závěry prediktivních </a:t>
            </a:r>
          </a:p>
          <a:p>
            <a:r>
              <a:rPr lang="cs-CZ" sz="5000" b="1" dirty="0"/>
              <a:t>populačních modelů </a:t>
            </a:r>
          </a:p>
        </p:txBody>
      </p:sp>
    </p:spTree>
    <p:extLst>
      <p:ext uri="{BB962C8B-B14F-4D97-AF65-F5344CB8AC3E}">
        <p14:creationId xmlns:p14="http://schemas.microsoft.com/office/powerpoint/2010/main" val="28416413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31940" y="2784875"/>
            <a:ext cx="1178526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Reálná data a vývoj epidemie dosud potvrzují, že rozvolnění </a:t>
            </a:r>
          </a:p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v dubnu a po 3.5. či 10.5. se na vývoji epidemie neprojevilo, situace začíná být stabilní. Pokud i další kroky budou pozvolné a uvážené, lze </a:t>
            </a:r>
          </a:p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i v důsledku postupující vakcinace očekávat, že 7denní počet nově potvrzených případů bude dále významně klesat.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všech regionů klesá a rovněž pro další období lze očekávat pokles, který bude dále umocňován postupujícím očkováním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48719" y="201082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348719" y="572047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709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54132" y="1910823"/>
            <a:ext cx="1182052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</a:t>
            </a:r>
            <a:r>
              <a:rPr lang="cs-CZ" sz="3200" b="1" u="sng" noProof="0" dirty="0" smtClean="0">
                <a:solidFill>
                  <a:srgbClr val="0000FF"/>
                </a:solidFill>
                <a:latin typeface="Calibri" panose="020F0502020204030204"/>
              </a:rPr>
              <a:t>7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Stále klesá relativní pozitivita indikovaných testů. Významný je i pokles nově nakažených potenciálně zranitelných skupin obyvatel. Reprodukční číslo osciluje mezi 0,70 – 0,8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5" y="416003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5" y="562144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4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1364949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3" y="273574"/>
            <a:ext cx="1127936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vající vývoj epidemie je velmi pozitivní, populační zátěž významně klesá a projevuje se již postupující vakcinace rizikových skupin obyvatel </a:t>
            </a:r>
            <a:endParaRPr kumimoji="0" lang="cs-CZ" sz="2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49" y="6145868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2284098"/>
            <a:ext cx="11148388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sng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vývoj odpovídá velmi optimistickému scénáři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který předpokládal rychlé brždění epidemie odpovídající reprodukčnímu číslu cca </a:t>
            </a: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7 - 0,8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posílenému o rychlý efekt postupující vakcinace (imunita dosažená již po 1. dávce vakcíny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dokládají i reálná data proložená při validac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modelu z 5.3. 2021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5354593" y="4277802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71170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943701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485644" y="11730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782825" y="112119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191937" y="102263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897192" y="117576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2191937" y="124785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897192" y="139906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897192" y="162237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184080" y="147307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97E0517-3EC9-44C6-B315-D6D19D4240FA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2 % pr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79DCD2B-EC27-47E9-B6A4-F6F1F3F1E16B}"/>
              </a:ext>
            </a:extLst>
          </p:cNvPr>
          <p:cNvSpPr txBox="1"/>
          <p:nvPr/>
        </p:nvSpPr>
        <p:spPr>
          <a:xfrm>
            <a:off x="11525360" y="4820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0FE691E-C2BD-4B30-A169-AABD4604D046}"/>
              </a:ext>
            </a:extLst>
          </p:cNvPr>
          <p:cNvSpPr txBox="1"/>
          <p:nvPr/>
        </p:nvSpPr>
        <p:spPr>
          <a:xfrm>
            <a:off x="11525360" y="52424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CB5EFCC-D0F1-494C-9551-8227F8750606}"/>
              </a:ext>
            </a:extLst>
          </p:cNvPr>
          <p:cNvSpPr txBox="1"/>
          <p:nvPr/>
        </p:nvSpPr>
        <p:spPr>
          <a:xfrm>
            <a:off x="10034632" y="96428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7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F9D18DF-5F8D-4144-AF44-4F3BB83E5008}"/>
              </a:ext>
            </a:extLst>
          </p:cNvPr>
          <p:cNvSpPr txBox="1"/>
          <p:nvPr/>
        </p:nvSpPr>
        <p:spPr>
          <a:xfrm>
            <a:off x="7944179" y="964282"/>
            <a:ext cx="1945048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8458859" y="57600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5782825" y="2757913"/>
            <a:ext cx="59280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Pokles virové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 zátěže je kontinuální a týká se všech regionů ČR, více než polovina regionů klesla pod hranici 7denního počtu případů 50/100tis. obyv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700943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1364949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3" y="273574"/>
            <a:ext cx="112793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vající vývoj epidemie je velmi pozitivní, populační zátěž významně klesá a projevuje se již postupující vakcinace rizikových skupin obyvatel </a:t>
            </a:r>
            <a:endParaRPr kumimoji="0" lang="cs-CZ" sz="24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50" y="4595670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2284098"/>
            <a:ext cx="1114838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vývoj odpovídá velmi optimistickému scénáři, který předpokládal rychlé brždění epidemie odpovídající reprodukčnímu číslu cca </a:t>
            </a: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7 - 0,8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posílenému o rychlý efekt postupující vakcinace </a:t>
            </a:r>
            <a:endParaRPr kumimoji="0" lang="cs-CZ" sz="2800" b="1" i="0" u="none" strike="noStrike" kern="0" cap="none" spc="0" normalizeH="0" baseline="0" noProof="0" dirty="0" smtClean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dosažená již po 1. dávce vakcíny) </a:t>
            </a:r>
          </a:p>
        </p:txBody>
      </p:sp>
    </p:spTree>
    <p:extLst>
      <p:ext uri="{BB962C8B-B14F-4D97-AF65-F5344CB8AC3E}">
        <p14:creationId xmlns:p14="http://schemas.microsoft.com/office/powerpoint/2010/main" val="39347874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A0F3C2E7-25A5-46FE-AED8-00A523D608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953" y="152881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zachování dopadu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/květ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</a:t>
            </a:r>
            <a:r>
              <a:rPr kumimoji="0" lang="cs-CZ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– 1.3.</a:t>
            </a: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33886576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8BC62348-8FEE-4A6F-BC14-FC46745E4E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773" y="1524757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zachování dopadu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/květ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lvl="1">
              <a:defRPr/>
            </a:pPr>
            <a:r>
              <a:rPr lang="cs-CZ" sz="1600" b="1" kern="0" dirty="0">
                <a:solidFill>
                  <a:prstClr val="black"/>
                </a:solidFill>
              </a:rPr>
              <a:t>Efekt opatření od 19.2. – 1.3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3137788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 smtClean="0"/>
              <a:t>Klesající zátěž nemocnic </a:t>
            </a:r>
            <a:endParaRPr lang="cs-CZ" sz="5000" b="1" dirty="0"/>
          </a:p>
        </p:txBody>
      </p:sp>
    </p:spTree>
    <p:extLst>
      <p:ext uri="{BB962C8B-B14F-4D97-AF65-F5344CB8AC3E}">
        <p14:creationId xmlns:p14="http://schemas.microsoft.com/office/powerpoint/2010/main" val="58859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57250" y="140265"/>
            <a:ext cx="109096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livem postupující vakcinace setrvale klesá počet nakažených seniorů a potenciálně zranitelných pacientů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9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43725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919390" y="1993208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13" name="Tabulka 3">
            <a:extLst>
              <a:ext uri="{FF2B5EF4-FFF2-40B4-BE49-F238E27FC236}">
                <a16:creationId xmlns:a16="http://schemas.microsoft.com/office/drawing/2014/main" id="{1DD20ECB-E3F8-4143-B301-B3AD84BE80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299379"/>
              </p:ext>
            </p:extLst>
          </p:nvPr>
        </p:nvGraphicFramePr>
        <p:xfrm>
          <a:off x="4539343" y="13187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339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3938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57250" y="140265"/>
            <a:ext cx="109096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livem postupující vakcinace setrvale klesá počet nakažených seniorů a potenciálně zranitelných pacientů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9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0027873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757E2A2A-AB0C-4E9F-9905-4436AE58ACB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943377" y="2011966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pulace seniorů 75+ let</a:t>
            </a:r>
          </a:p>
        </p:txBody>
      </p:sp>
      <p:graphicFrame>
        <p:nvGraphicFramePr>
          <p:cNvPr id="13" name="Tabulka 3">
            <a:extLst>
              <a:ext uri="{FF2B5EF4-FFF2-40B4-BE49-F238E27FC236}">
                <a16:creationId xmlns:a16="http://schemas.microsoft.com/office/drawing/2014/main" id="{B21F6AE2-82F7-4D5B-AA41-5ADF40AB5F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976459"/>
              </p:ext>
            </p:extLst>
          </p:nvPr>
        </p:nvGraphicFramePr>
        <p:xfrm>
          <a:off x="4604657" y="1318755"/>
          <a:ext cx="6581655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38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84317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7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13828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54232462-B54B-464F-9FBC-FCF00294851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16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76A2305B-16E7-4FD3-B44E-76CC3DB2075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.0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1801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>
            <p:extLst/>
          </p:nvPr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7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331DE39D-385B-4889-BB0D-7CB012C99C2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4.–25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4.–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5.–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5.–1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5.–23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7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8674829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249FDA6A-721F-469B-A3D6-08D3A59706F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4.–26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4.–3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5.–10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5.–1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5.–2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7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697074" flipV="1">
            <a:off x="11256726" y="5594393"/>
            <a:ext cx="521883" cy="11290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791062" y="3899034"/>
            <a:ext cx="4002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b="1" dirty="0" smtClean="0">
                <a:solidFill>
                  <a:srgbClr val="0000FF"/>
                </a:solidFill>
              </a:rPr>
              <a:t>Týdenní počty nově diagnostikovaných případů nadále klesají, v průměru o cca 400 týdně.</a:t>
            </a:r>
            <a:endParaRPr lang="cs-CZ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1652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>
            <p:extLst/>
          </p:nvPr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535A3A98-7B6C-45F0-895B-FF6F5E4D17D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4.–25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4.–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5.–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5.–1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5.–23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50771154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32777" y="210275"/>
            <a:ext cx="118849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dravotních dopadů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19203" y="1427122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328478" y="1999582"/>
            <a:ext cx="1122158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ě optimistické scénáře se v čase naplnily a epidemie začala na populační úrovni významně zpomalovat již v 1. polovině března. Pozitivní dopad na zátěž nemocnic avšak nastal až po 15. březn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z 5.3. jsou nadále funkční a predikce rychlého poklesu zátěže se shodují s realito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byly nově doplněny o předpokládaný efek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 </a:t>
            </a:r>
            <a:r>
              <a:rPr kumimoji="0" lang="cs-CZ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upin. 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5119203" y="6140682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8916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182014" y="100030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IRV model: zachování dopadu opatřen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z </a:t>
            </a:r>
            <a:r>
              <a:rPr kumimoji="0" lang="en-US" sz="14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vlivu očkování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3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047002" y="2246388"/>
            <a:ext cx="48262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12395225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6930087" y="100030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930087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IRV model: zachování dopadu opatřen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z </a:t>
            </a:r>
            <a:r>
              <a:rPr kumimoji="0" lang="en-US" sz="14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vlivu očkování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5" name="Přímá spojnice 14"/>
          <p:cNvCxnSpPr/>
          <p:nvPr>
            <p:custDataLst>
              <p:tags r:id="rId3"/>
            </p:custDataLst>
          </p:nvPr>
        </p:nvCxnSpPr>
        <p:spPr>
          <a:xfrm>
            <a:off x="6284890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6795075" y="2246388"/>
            <a:ext cx="48262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10096450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Prováděné testy a jejich pozitivita</a:t>
            </a:r>
          </a:p>
        </p:txBody>
      </p:sp>
    </p:spTree>
    <p:extLst>
      <p:ext uri="{BB962C8B-B14F-4D97-AF65-F5344CB8AC3E}">
        <p14:creationId xmlns:p14="http://schemas.microsoft.com/office/powerpoint/2010/main" val="7470965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7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2905978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Table 13">
            <a:extLst>
              <a:ext uri="{FF2B5EF4-FFF2-40B4-BE49-F238E27FC236}">
                <a16:creationId xmlns:a16="http://schemas.microsoft.com/office/drawing/2014/main" id="{56B05503-156E-4409-8CE5-786F8C0338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7492129"/>
              </p:ext>
            </p:extLst>
          </p:nvPr>
        </p:nvGraphicFramePr>
        <p:xfrm>
          <a:off x="1450555" y="492224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58277" y="2619343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36276485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7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67108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Table 13">
            <a:extLst>
              <a:ext uri="{FF2B5EF4-FFF2-40B4-BE49-F238E27FC236}">
                <a16:creationId xmlns:a16="http://schemas.microsoft.com/office/drawing/2014/main" id="{B1C6B963-872C-4691-B70B-15CD5EF9A0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4077149"/>
              </p:ext>
            </p:extLst>
          </p:nvPr>
        </p:nvGraphicFramePr>
        <p:xfrm>
          <a:off x="1506538" y="538873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14260" y="2665992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40255368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CAEDE164-205E-43D1-B253-AE02A20F122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85832" y="547721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695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589 (84,7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277 (39,9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312 (44,9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106 (15,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72 (10,4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34 (4,9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59" y="1743959"/>
            <a:ext cx="920978" cy="3914685"/>
            <a:chOff x="404159" y="1866838"/>
            <a:chExt cx="920978" cy="3351365"/>
          </a:xfrm>
        </p:grpSpPr>
        <p:cxnSp>
          <p:nvCxnSpPr>
            <p:cNvPr id="47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57" idx="2"/>
              <a:endCxn id="60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76" idx="2"/>
              <a:endCxn id="58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76" idx="2"/>
              <a:endCxn id="59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60" idx="2"/>
              <a:endCxn id="7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60" idx="2"/>
              <a:endCxn id="75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7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57" idx="2"/>
              <a:endCxn id="76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6" name="Table 5">
            <a:extLst>
              <a:ext uri="{FF2B5EF4-FFF2-40B4-BE49-F238E27FC236}">
                <a16:creationId xmlns:a16="http://schemas.microsoft.com/office/drawing/2014/main" id="{642586FD-73AA-47D3-8B2C-DADCC43DCB7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312560" y="547721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5.2021–23.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986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4 122 (82,7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2 090 (41,9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2 032 (40,8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864 (17,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421 (8,4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43 (8,9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79" name="Skupina 78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30887" y="1743959"/>
            <a:ext cx="920978" cy="3914685"/>
            <a:chOff x="404159" y="1866838"/>
            <a:chExt cx="920978" cy="3351365"/>
          </a:xfrm>
        </p:grpSpPr>
        <p:cxnSp>
          <p:nvCxnSpPr>
            <p:cNvPr id="80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85" idx="2"/>
              <a:endCxn id="88" idx="2"/>
            </p:cNvCxnSpPr>
            <p:nvPr>
              <p:custDataLst>
                <p:tags r:id="rId3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1" idx="2"/>
              <a:endCxn id="86" idx="2"/>
            </p:cNvCxnSpPr>
            <p:nvPr>
              <p:custDataLst>
                <p:tags r:id="rId4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1" idx="2"/>
              <a:endCxn id="87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88" idx="2"/>
              <a:endCxn id="89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88" idx="2"/>
              <a:endCxn id="90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2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85" idx="2"/>
              <a:endCxn id="91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47014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Testy u dětí obecně</a:t>
            </a:r>
          </a:p>
          <a:p>
            <a:r>
              <a:rPr lang="cs-CZ" sz="4000" b="1" dirty="0"/>
              <a:t>Souhrnné výsledky testů ze škol </a:t>
            </a:r>
            <a:endParaRPr lang="cs-CZ" sz="4000" b="1" i="1" dirty="0"/>
          </a:p>
        </p:txBody>
      </p:sp>
    </p:spTree>
    <p:extLst>
      <p:ext uri="{BB962C8B-B14F-4D97-AF65-F5344CB8AC3E}">
        <p14:creationId xmlns:p14="http://schemas.microsoft.com/office/powerpoint/2010/main" val="179781737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Kumulativní počet provedených testů ve školách 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6200" y="648748"/>
            <a:ext cx="73116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24. 5. 2021 18:00 -&gt; celkový přehled bez dělení dle věkových skupin žáků</a:t>
            </a:r>
          </a:p>
        </p:txBody>
      </p:sp>
      <p:graphicFrame>
        <p:nvGraphicFramePr>
          <p:cNvPr id="10" name="Graf 16">
            <a:extLst>
              <a:ext uri="{FF2B5EF4-FFF2-40B4-BE49-F238E27FC236}">
                <a16:creationId xmlns:a16="http://schemas.microsoft.com/office/drawing/2014/main" id="{3A451FDC-44C3-49C1-9378-D6D6BC55CE26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559687" y="1099751"/>
          <a:ext cx="11460862" cy="5426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Obdélník 11">
            <a:extLst>
              <a:ext uri="{FF2B5EF4-FFF2-40B4-BE49-F238E27FC236}">
                <a16:creationId xmlns:a16="http://schemas.microsoft.com/office/drawing/2014/main" id="{4E11FDD2-C553-4CA5-95B2-1ADDA68989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018131" y="3390256"/>
            <a:ext cx="45865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</a:t>
            </a: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mulativní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očet provedených testů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559DA486-5B4D-4CF3-B2A1-103CD2BC1928}"/>
              </a:ext>
            </a:extLst>
          </p:cNvPr>
          <p:cNvGrpSpPr/>
          <p:nvPr/>
        </p:nvGrpSpPr>
        <p:grpSpPr>
          <a:xfrm>
            <a:off x="1655097" y="1583258"/>
            <a:ext cx="2057077" cy="777412"/>
            <a:chOff x="1655097" y="1583258"/>
            <a:chExt cx="2057077" cy="777412"/>
          </a:xfrm>
        </p:grpSpPr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92C0E3F8-2447-4A01-AEF4-0B4F66FC950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475415" y="1583258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Žáci</a:t>
              </a:r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8E946716-5D4D-4616-9BBC-6ABF19E8568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75415" y="2052893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Zaměstnanci</a:t>
              </a:r>
            </a:p>
          </p:txBody>
        </p: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802A874-F297-42E0-8C76-702FD285E353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1655097" y="1746056"/>
              <a:ext cx="620559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816A37-A9CE-41EA-87A4-E63CEBE7D94E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>
            <a:xfrm>
              <a:off x="1655097" y="2206782"/>
              <a:ext cx="620559" cy="0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04867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8932938"/>
              </p:ext>
            </p:ext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významněj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</a:t>
            </a:r>
            <a:r>
              <a:rPr kumimoji="0" lang="cs-CZ" sz="2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200" b="1" i="0" u="sng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1275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44607" y="328907"/>
            <a:ext cx="11820525" cy="5772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ávrat dětí do škol probíhá zatím bezpečně, bez eskalace rizika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šechny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ozitivně potvrzené případy jsou šetřeny epidemiology na KHS. Tato šetření umožňují odlišit děti pravděpodobně nakažené v souvislosti se školní docházkou. U dětí ve věku 5 – 11 let, které jsou ve škole nejdéle, prokázalo epidemické šetření KHS 28% z celkem zachycených nákaz jako souvisejících se školou. Dále tento podíl nákaz souvisejících se školou klesá k 17% (věková kategorie 12 – 15 let) a k 3% (věková kategorie 12 – 19 let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ka založená pouze na AG testech přispívá u dětí k cca 2 - 5% celkových pozitivních záchytů. V testovaných věkových kategoriích dětí je očekávatelně zaznamenán významně nižší podíl symptomatických pacientů než v celkové populaci, cca 30%.  </a:t>
            </a: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946191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41176" y="361436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041176" y="626493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44844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OVÝ SOUHRN V DATECH (bez dělení na věkové kategorie žáků, které nejsou v datech testování ve školách k dispozici)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5" y="3156370"/>
            <a:ext cx="2221250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114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994 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9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* </a:t>
            </a: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4" y="1170788"/>
            <a:ext cx="2160227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273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56 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24. 5. 2021 18:00</a:t>
            </a:r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84900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sledované období bylo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 zachyceno</a:t>
            </a:r>
            <a:b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9 830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u dět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5 – 15 let)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8964951" y="4973578"/>
            <a:ext cx="3210419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provedené přímo ve školách potvrdil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994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196094" y="4573164"/>
            <a:ext cx="4330707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á šetření všech záznamů v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káza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436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dětí ve věku 5 – 15 let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Šipka doprava 21"/>
          <p:cNvSpPr/>
          <p:nvPr/>
        </p:nvSpPr>
        <p:spPr>
          <a:xfrm rot="5400000">
            <a:off x="1581204" y="394704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Šipka doprava 22"/>
          <p:cNvSpPr/>
          <p:nvPr/>
        </p:nvSpPr>
        <p:spPr>
          <a:xfrm>
            <a:off x="3746873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Šipka doprava 24"/>
          <p:cNvSpPr/>
          <p:nvPr/>
        </p:nvSpPr>
        <p:spPr>
          <a:xfrm rot="10800000">
            <a:off x="8583951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3746873" y="268960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ve školách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3649937" y="78275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ve školách </a:t>
            </a:r>
          </a:p>
        </p:txBody>
      </p:sp>
    </p:spTree>
    <p:extLst>
      <p:ext uri="{BB962C8B-B14F-4D97-AF65-F5344CB8AC3E}">
        <p14:creationId xmlns:p14="http://schemas.microsoft.com/office/powerpoint/2010/main" val="344291813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831583" y="1542954"/>
            <a:ext cx="20410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71727" y="1581538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6D42FF0-6565-403F-B660-2326C9C9049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23955" y="1971700"/>
            <a:ext cx="32118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 pouz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MŠ a 1. a 2. třídách ZŠ,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ípravných třídách, speciálních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praktických školách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565389" y="1853967"/>
            <a:ext cx="0" cy="802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89388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777550" y="2523596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 ZŠ v rotačním režimu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H="1">
            <a:off x="7556121" y="3315626"/>
            <a:ext cx="2758" cy="10957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323589" y="1559490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6. 4. MŠ otevřeny zcela, SŠ a VOŠ praktické vyučování v PLK, HKK, KVK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3. 5. dále STC, LBK, PAK, PHA s rozšířením rotační výuky 2. st. ZŠ a od 10. 5. ve zbývajících krajích</a:t>
            </a: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8522577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9027319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9515279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614369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24.5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6924" y="1893272"/>
            <a:ext cx="33810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ch žáků na 100 tis. testů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4039" y="1902635"/>
            <a:ext cx="35878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ch učitelů na 100 tis. testů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24. 5. 2021 18:00</a:t>
            </a:r>
          </a:p>
        </p:txBody>
      </p:sp>
      <p:sp>
        <p:nvSpPr>
          <p:cNvPr id="2" name="Obdélník 1"/>
          <p:cNvSpPr/>
          <p:nvPr>
            <p:custDataLst>
              <p:tags r:id="rId7"/>
            </p:custDataLst>
          </p:nvPr>
        </p:nvSpPr>
        <p:spPr>
          <a:xfrm>
            <a:off x="1173083" y="1058739"/>
            <a:ext cx="1067471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pozitivních záchytů na 100 tisíc testů nahlášených ze škol bez dělení na věkové kategori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ý souhrn za celé sledované období od 12.4. 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3208998" y="1687128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9398604" y="1687128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266065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  <p:extLst/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  <p:extLst/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  <p:extLst/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tis. dětí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sty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 diagnostickou nebo klinickou indikací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765CE34-BA7B-4D0A-BDD0-7754F6E059CC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561431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 502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95EB96D-4360-4A5F-BBA6-DD6970FBD8AF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639704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733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59BA51D-7547-4F6A-AF8C-73B62C7974C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062113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4 308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50F700-BD9B-4F07-9F57-5ACB46BC8E81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523987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7 868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2A38787E-9710-4D2A-A711-372AE644843A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523988" y="5606287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6 183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A9C1513-F4A3-42A4-BC61-9C1BE01CB4D7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981825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2 522</a:t>
            </a:r>
          </a:p>
        </p:txBody>
      </p:sp>
    </p:spTree>
    <p:extLst>
      <p:ext uri="{BB962C8B-B14F-4D97-AF65-F5344CB8AC3E}">
        <p14:creationId xmlns:p14="http://schemas.microsoft.com/office/powerpoint/2010/main" val="358663926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2979421"/>
            <a:ext cx="8050306" cy="3325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3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0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4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20617" y="1727136"/>
            <a:ext cx="3052308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esající počet nově nakažených dět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 věku 0 – 4 let je mezi 13.4. a 23.5. registrován ve všech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Libereckém kraji došlo mezi 1.5. a 23.5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 navýšení počtu nových případů, přičemž jde o kraj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druhým nejvyšším 7denním počtem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. </a:t>
            </a: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D48701E7-F1B4-4F9C-8212-C3B87420926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21">
            <a:extLst>
              <a:ext uri="{FF2B5EF4-FFF2-40B4-BE49-F238E27FC236}">
                <a16:creationId xmlns:a16="http://schemas.microsoft.com/office/drawing/2014/main" id="{1C140140-1983-45CC-A10B-066345AEDC3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</p:spTree>
    <p:extLst>
      <p:ext uri="{BB962C8B-B14F-4D97-AF65-F5344CB8AC3E}">
        <p14:creationId xmlns:p14="http://schemas.microsoft.com/office/powerpoint/2010/main" val="56890676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5986" y="4022080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3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1 let</a:t>
            </a:r>
            <a:endParaRPr lang="cs-CZ" sz="2000" dirty="0"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49748" y="1418810"/>
            <a:ext cx="3270777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nakažených dětí ve věku 5 – 11 let mezi 13.4. a 23.5. klesají. Rovněž mezi 1.5. a 23.5. klesají s výjimkou kraje Libereckého, Královéhradeckého a Karlovarského, kd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stagnují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na 100tis. dětí v této věkové kategorii registrují kraje Jihočeský a Liberecký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917AEC26-943C-4BAF-A0AF-9551675FCB6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F7C36DEF-778B-4375-AA60-A601C49BBA0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09D08931-F140-400B-AEF1-5ED5FBA4931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3BDA947B-5EF2-4284-B5B5-03EB0325FFD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54B0F530-38B8-4DA9-A11D-B8541C2A296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</p:spTree>
    <p:extLst>
      <p:ext uri="{BB962C8B-B14F-4D97-AF65-F5344CB8AC3E}">
        <p14:creationId xmlns:p14="http://schemas.microsoft.com/office/powerpoint/2010/main" val="251109104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556" y="3674030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3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24725A0A-299D-4402-8473-3C63C6E5102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49748" y="2034913"/>
            <a:ext cx="3427591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nakažených dětí ve věku 12 – 19 let mezi 13.4. a 23.5., a rovněž mezi 1.5. a 23.5., ve všech krajích klesa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raj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ravskoslezský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9" name="TextBox 16">
            <a:extLst>
              <a:ext uri="{FF2B5EF4-FFF2-40B4-BE49-F238E27FC236}">
                <a16:creationId xmlns:a16="http://schemas.microsoft.com/office/drawing/2014/main" id="{49DD5679-FB51-41D3-B6F9-89ECAD0AA80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AA2AF1B9-964B-4451-BED5-A91D3BA022D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07B47C78-2DF9-4B3E-BB33-B6B7E6F42C8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2FD59DF9-D173-45BA-A7B7-9793ED6E471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06A69B2-B455-46C3-AAF9-9E1582D02E8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28197353-E87D-4843-92C6-B53E5C792A3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950B1CED-E1EB-4514-A55F-35A58766637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AC523703-45E9-42CF-9603-6A0CE7BB9CA8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</p:spTree>
    <p:extLst>
      <p:ext uri="{BB962C8B-B14F-4D97-AF65-F5344CB8AC3E}">
        <p14:creationId xmlns:p14="http://schemas.microsoft.com/office/powerpoint/2010/main" val="14234438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9519946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09203" y="2576933"/>
            <a:ext cx="1191038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chny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giony klesly pod hranici týdenních záchy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 smtClean="0">
                <a:solidFill>
                  <a:srgbClr val="0000FF"/>
                </a:solidFill>
                <a:latin typeface="Calibri" panose="020F0502020204030204"/>
              </a:rPr>
              <a:t>75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100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. obyvatel.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íce než polovina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ů je již trvale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cí kumulativních týdenních záchytů 50/100 tis. obyv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93252" y="1759534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 se postupně </a:t>
            </a:r>
            <a:r>
              <a:rPr lang="cs-CZ" sz="4000" b="1" dirty="0">
                <a:solidFill>
                  <a:prstClr val="black"/>
                </a:solidFill>
                <a:latin typeface="Calibri" panose="020F0502020204030204"/>
              </a:rPr>
              <a:t>zmenšuj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díly</a:t>
            </a: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kové virové zátěži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93251" y="450054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7863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334280" y="3139549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334280" y="3448275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334280" y="3757001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334280" y="4065727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334280" y="4374453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574037" y="3044883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574037" y="335617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574037" y="366746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574037" y="397875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574037" y="429004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334280" y="4683178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334280" y="4991902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574037" y="460133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574037" y="4912625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334280" y="2864883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574036" y="2800995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BD8D815-6F2A-4437-A699-CF36143DAC91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9" r="10555"/>
          <a:stretch/>
        </p:blipFill>
        <p:spPr>
          <a:xfrm>
            <a:off x="290378" y="1190760"/>
            <a:ext cx="3993112" cy="2558663"/>
          </a:xfrm>
          <a:prstGeom prst="rect">
            <a:avLst/>
          </a:prstGeom>
        </p:spPr>
      </p:pic>
      <p:sp>
        <p:nvSpPr>
          <p:cNvPr id="23" name="TextBox 29">
            <a:extLst>
              <a:ext uri="{FF2B5EF4-FFF2-40B4-BE49-F238E27FC236}">
                <a16:creationId xmlns:a16="http://schemas.microsoft.com/office/drawing/2014/main" id="{0835FFC6-D4A4-4EFB-89C7-AD533F1516F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97755" y="79065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.2021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F41D84E5-0770-425B-8B76-08CC308AA8AB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5022177" y="83465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F6BC7228-087B-4A2D-8F2B-30A8A3B2E806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176" y="1201001"/>
            <a:ext cx="3900797" cy="2556000"/>
          </a:xfrm>
          <a:prstGeom prst="rect">
            <a:avLst/>
          </a:prstGeom>
        </p:spPr>
      </p:pic>
      <p:sp>
        <p:nvSpPr>
          <p:cNvPr id="24" name="TextBox 29">
            <a:extLst>
              <a:ext uri="{FF2B5EF4-FFF2-40B4-BE49-F238E27FC236}">
                <a16:creationId xmlns:a16="http://schemas.microsoft.com/office/drawing/2014/main" id="{CABE1324-0AE2-4CB4-A4FF-B1AB0E1BB134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458977" y="383882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smtClean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lang="cs-CZ" sz="2000" b="1" dirty="0" smtClean="0">
                <a:solidFill>
                  <a:srgbClr val="000000"/>
                </a:solidFill>
                <a:latin typeface="Arial" panose="020B0604020202020204"/>
              </a:rPr>
              <a:t>3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9D74AB72-DC10-4000-961D-28BAE454955D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64" y="4198543"/>
            <a:ext cx="3900794" cy="2556000"/>
          </a:xfrm>
          <a:prstGeom prst="rect">
            <a:avLst/>
          </a:prstGeom>
        </p:spPr>
      </p:pic>
      <p:sp>
        <p:nvSpPr>
          <p:cNvPr id="26" name="TextovéPole 25"/>
          <p:cNvSpPr txBox="1"/>
          <p:nvPr/>
        </p:nvSpPr>
        <p:spPr>
          <a:xfrm>
            <a:off x="5642190" y="4628597"/>
            <a:ext cx="350615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virové zátěže populace pokračuje i v druhé polovině května, trend odpovídá reprodukčnímu číslu 0,7 – 0,8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29159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25</a:t>
            </a:r>
            <a:r>
              <a:rPr lang="cs-CZ" dirty="0" smtClean="0"/>
              <a:t>.5</a:t>
            </a:r>
            <a:r>
              <a:rPr lang="cs-CZ" dirty="0"/>
              <a:t>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7104563" y="1373577"/>
            <a:ext cx="498606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</a:rPr>
              <a:t>Rozdíly mezi regiony se postupně zmenšu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FF"/>
                </a:solidFill>
              </a:rPr>
              <a:t>Klesající trend je významný ve všech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3548196"/>
              </p:ext>
            </p:extLst>
          </p:nvPr>
        </p:nvGraphicFramePr>
        <p:xfrm>
          <a:off x="579564" y="1033447"/>
          <a:ext cx="6019644" cy="5181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e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nní počet nových případů (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 (17.7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1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 (11.5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ěsto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raha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 (10.1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.7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6 (9.5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.7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 (9.4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.7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1 (8.8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.6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7 (8.2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8.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 (6.2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3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 (5.0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 (4.6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1.5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 (3.9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.6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 (3.3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 (1.6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(0.3 %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6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95 (100.0 %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.5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7302242" y="5684288"/>
            <a:ext cx="4788389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elková hodnota za ČR pokles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pod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45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případů / 100 tis. obyv. za 7 dní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6772810" y="5727940"/>
            <a:ext cx="457200" cy="66423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07207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631" y="722780"/>
            <a:ext cx="11963400" cy="62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896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7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86</TotalTime>
  <Words>3790</Words>
  <Application>Microsoft Office PowerPoint</Application>
  <PresentationFormat>Širokoúhlá obrazovka</PresentationFormat>
  <Paragraphs>641</Paragraphs>
  <Slides>47</Slides>
  <Notes>15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0</vt:i4>
      </vt:variant>
      <vt:variant>
        <vt:lpstr>Nadpisy snímků</vt:lpstr>
      </vt:variant>
      <vt:variant>
        <vt:i4>47</vt:i4>
      </vt:variant>
    </vt:vector>
  </HeadingPairs>
  <TitlesOfParts>
    <vt:vector size="63" baseType="lpstr">
      <vt:lpstr>Calibri Light</vt:lpstr>
      <vt:lpstr>Arial</vt:lpstr>
      <vt:lpstr>Calibri</vt:lpstr>
      <vt:lpstr>Wingdings</vt:lpstr>
      <vt:lpstr>Arial (Základní text)</vt:lpstr>
      <vt:lpstr>Times New Roman</vt:lpstr>
      <vt:lpstr>1_Motiv Office</vt:lpstr>
      <vt:lpstr>3_Motiv Office</vt:lpstr>
      <vt:lpstr>7_Motiv Office</vt:lpstr>
      <vt:lpstr>12_Motiv Office</vt:lpstr>
      <vt:lpstr>5_Motiv Office</vt:lpstr>
      <vt:lpstr>Motiv Office</vt:lpstr>
      <vt:lpstr>6_Motiv Office</vt:lpstr>
      <vt:lpstr>2_Motiv Office</vt:lpstr>
      <vt:lpstr>9_Motiv Office</vt:lpstr>
      <vt:lpstr>4_Motiv Office</vt:lpstr>
      <vt:lpstr>Datová a informační základna  pro management pandemie COVID-19</vt:lpstr>
      <vt:lpstr>Prezentace aplikace PowerPoint</vt:lpstr>
      <vt:lpstr>Prezentace aplikace PowerPoint</vt:lpstr>
      <vt:lpstr>Počty COVID-19 pozitivních v ČR na 100 000 v populaci</vt:lpstr>
      <vt:lpstr>Datová a informační základna  pro management pandemie COVID-19</vt:lpstr>
      <vt:lpstr>Prezentace aplikace PowerPoint</vt:lpstr>
      <vt:lpstr>7 denní počet nových případů (na 100 000 obyv.) v okresech</vt:lpstr>
      <vt:lpstr>Zátěž regionů ve vzájemném srovnání krajů k 25.5.</vt:lpstr>
      <vt:lpstr>Vybrané ukazatele – srovnání regionů</vt:lpstr>
      <vt:lpstr>Počty COVID-19 pozitivních na 100 000 v populaci v krajích a ČR</vt:lpstr>
      <vt:lpstr>R (zjednodušený výpočet) - 7 denní úseky: srovnání krajů k 23.5.</vt:lpstr>
      <vt:lpstr>Relativní pozitivita testů s diagnostickou/epidemiologickou indikací za 7 dní</vt:lpstr>
      <vt:lpstr>Nové symptomatické případy za 7 dní na 100 000 obyvatel</vt:lpstr>
      <vt:lpstr>Nové případy za 7 dní na 100 000 obyvatel: 20 okresů s nejvyššími hodnotami k 22.5.</vt:lpstr>
      <vt:lpstr>Nové případy za 7 dní na 100 000 obyvatel: 20 okresů s nejvyššími hodnotami k 22.5.</vt:lpstr>
      <vt:lpstr>20 okresů s nejvyššími hodnotami R k 22.5. a jejich celková populační zátěž </vt:lpstr>
      <vt:lpstr>Přehled okresů s poteniálně rizikovými epidemickými hodnotami</vt:lpstr>
      <vt:lpstr>Datová a informační základna  pro management pandemie COVID-19</vt:lpstr>
      <vt:lpstr>Prezentace aplikace PowerPoint</vt:lpstr>
      <vt:lpstr>Prezentace aplikace PowerPoint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ovaný počet aktuálně hospitalizovaných</vt:lpstr>
      <vt:lpstr>Predikovaný počet aktuálně hospitalizovaných na JIP</vt:lpstr>
      <vt:lpstr>Datová a informační základna  pro management pandemie COVID-19</vt:lpstr>
      <vt:lpstr>Podíl pozitivních testů: diagnostické a klinické indikace </vt:lpstr>
      <vt:lpstr>Podíl pozitivních testů: epidemiologické indikace</vt:lpstr>
      <vt:lpstr>Typologie pozitivních případů</vt:lpstr>
      <vt:lpstr>Datová a informační základna  pro management pandemie COVID-19</vt:lpstr>
      <vt:lpstr>Kumulativní počet provedených testů ve školách </vt:lpstr>
      <vt:lpstr>Prezentace aplikace PowerPoint</vt:lpstr>
      <vt:lpstr>Testy hlášení ze škol – průběžné výsledky</vt:lpstr>
      <vt:lpstr>Počty COVID-19 pozitivních v ČR na 100 000 v populaci</vt:lpstr>
      <vt:lpstr>Testy ve školách – průběžné výsledky (dle CFA) 12.4–24.5.2021 </vt:lpstr>
      <vt:lpstr>Počty nově COVID-19 pozitivních na 100 testů u dětí v čase</vt:lpstr>
      <vt:lpstr>Nové případy za 7 dní na 100 000 obyvatel: srovnání krajů k 23.5.: 0–4 let</vt:lpstr>
      <vt:lpstr>Nové případy za 7 dní na 100 000 obyvatel: srovnání krajů k 23.5.: 5–11 let</vt:lpstr>
      <vt:lpstr>Nové případy za 7 dní na 100 000 obyvatel: srovnání krajů k 23.5.: 12–19 l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836</cp:revision>
  <dcterms:created xsi:type="dcterms:W3CDTF">2020-11-11T17:36:28Z</dcterms:created>
  <dcterms:modified xsi:type="dcterms:W3CDTF">2021-05-25T18:49:55Z</dcterms:modified>
</cp:coreProperties>
</file>